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0" r:id="rId2"/>
  </p:sldMasterIdLst>
  <p:notesMasterIdLst>
    <p:notesMasterId r:id="rId34"/>
  </p:notesMasterIdLst>
  <p:sldIdLst>
    <p:sldId id="256" r:id="rId3"/>
    <p:sldId id="1750" r:id="rId4"/>
    <p:sldId id="258" r:id="rId5"/>
    <p:sldId id="1703" r:id="rId6"/>
    <p:sldId id="1753" r:id="rId7"/>
    <p:sldId id="1754" r:id="rId8"/>
    <p:sldId id="1755" r:id="rId9"/>
    <p:sldId id="1730" r:id="rId10"/>
    <p:sldId id="1731" r:id="rId11"/>
    <p:sldId id="1756" r:id="rId12"/>
    <p:sldId id="1757" r:id="rId13"/>
    <p:sldId id="1758" r:id="rId14"/>
    <p:sldId id="1751" r:id="rId15"/>
    <p:sldId id="1759" r:id="rId16"/>
    <p:sldId id="1760" r:id="rId17"/>
    <p:sldId id="1761" r:id="rId18"/>
    <p:sldId id="1763" r:id="rId19"/>
    <p:sldId id="1762" r:id="rId20"/>
    <p:sldId id="1764" r:id="rId21"/>
    <p:sldId id="1765" r:id="rId22"/>
    <p:sldId id="1766" r:id="rId23"/>
    <p:sldId id="1767" r:id="rId24"/>
    <p:sldId id="1768" r:id="rId25"/>
    <p:sldId id="1752" r:id="rId26"/>
    <p:sldId id="1769" r:id="rId27"/>
    <p:sldId id="1771" r:id="rId28"/>
    <p:sldId id="1770" r:id="rId29"/>
    <p:sldId id="1772" r:id="rId30"/>
    <p:sldId id="1728" r:id="rId31"/>
    <p:sldId id="1773" r:id="rId32"/>
    <p:sldId id="1723" r:id="rId33"/>
  </p:sldIdLst>
  <p:sldSz cx="12192000" cy="6858000"/>
  <p:notesSz cx="6858000" cy="9144000"/>
  <p:custDataLst>
    <p:tags r:id="rId3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刘佳伟" initials="刘佳伟" lastIdx="1" clrIdx="0">
    <p:extLst>
      <p:ext uri="{19B8F6BF-5375-455C-9EA6-DF929625EA0E}">
        <p15:presenceInfo xmlns:p15="http://schemas.microsoft.com/office/powerpoint/2012/main" userId="刘佳伟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BA40"/>
    <a:srgbClr val="39BAE8"/>
    <a:srgbClr val="42BDE9"/>
    <a:srgbClr val="FF83A9"/>
    <a:srgbClr val="FFBFBE"/>
    <a:srgbClr val="92D9F2"/>
    <a:srgbClr val="E6E6E6"/>
    <a:srgbClr val="FFDA93"/>
    <a:srgbClr val="FFC0BE"/>
    <a:srgbClr val="76BF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332" autoAdjust="0"/>
    <p:restoredTop sz="96201" autoAdjust="0"/>
  </p:normalViewPr>
  <p:slideViewPr>
    <p:cSldViewPr snapToGrid="0">
      <p:cViewPr varScale="1">
        <p:scale>
          <a:sx n="81" d="100"/>
          <a:sy n="81" d="100"/>
        </p:scale>
        <p:origin x="51" y="849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ags" Target="tags/tag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9/2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，让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设计简单起来！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,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Mak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owerPoint Design Simple!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2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74310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，让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设计简单起来！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,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Mak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owerPoint Design Simple!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3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351018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0.jpeg"/><Relationship Id="rId2" Type="http://schemas.openxmlformats.org/officeDocument/2006/relationships/hyperlink" Target="http://www.officeplus.cn/Template/Home.shtml" TargetMode="External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fficeplus.cn/Template/Home.shtml" TargetMode="External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>
            <a:extLst>
              <a:ext uri="{FF2B5EF4-FFF2-40B4-BE49-F238E27FC236}">
                <a16:creationId xmlns:a16="http://schemas.microsoft.com/office/drawing/2014/main" id="{CDB8ECEF-8AA4-42EA-91B9-24EB350F76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椭圆 41">
            <a:extLst>
              <a:ext uri="{FF2B5EF4-FFF2-40B4-BE49-F238E27FC236}">
                <a16:creationId xmlns:a16="http://schemas.microsoft.com/office/drawing/2014/main" id="{0829CC21-9B03-4F54-980B-24C46ED79196}"/>
              </a:ext>
            </a:extLst>
          </p:cNvPr>
          <p:cNvSpPr/>
          <p:nvPr userDrawn="1"/>
        </p:nvSpPr>
        <p:spPr>
          <a:xfrm>
            <a:off x="7698671" y="715249"/>
            <a:ext cx="3530051" cy="3530051"/>
          </a:xfrm>
          <a:prstGeom prst="ellipse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任意多边形: 形状 50">
            <a:extLst>
              <a:ext uri="{FF2B5EF4-FFF2-40B4-BE49-F238E27FC236}">
                <a16:creationId xmlns:a16="http://schemas.microsoft.com/office/drawing/2014/main" id="{A2CE12F6-4DF2-40E8-A332-41A64596D872}"/>
              </a:ext>
            </a:extLst>
          </p:cNvPr>
          <p:cNvSpPr>
            <a:spLocks/>
          </p:cNvSpPr>
          <p:nvPr userDrawn="1"/>
        </p:nvSpPr>
        <p:spPr bwMode="auto">
          <a:xfrm>
            <a:off x="0" y="1699690"/>
            <a:ext cx="12192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40" name="Freeform 9">
            <a:extLst>
              <a:ext uri="{FF2B5EF4-FFF2-40B4-BE49-F238E27FC236}">
                <a16:creationId xmlns:a16="http://schemas.microsoft.com/office/drawing/2014/main" id="{B1EAA4D7-2566-4003-9FF5-B0DDAFBA6DB3}"/>
              </a:ext>
            </a:extLst>
          </p:cNvPr>
          <p:cNvSpPr>
            <a:spLocks/>
          </p:cNvSpPr>
          <p:nvPr userDrawn="1"/>
        </p:nvSpPr>
        <p:spPr bwMode="auto">
          <a:xfrm>
            <a:off x="5358307" y="2039469"/>
            <a:ext cx="6070237" cy="3380331"/>
          </a:xfrm>
          <a:custGeom>
            <a:avLst/>
            <a:gdLst>
              <a:gd name="T0" fmla="*/ 0 w 4357"/>
              <a:gd name="T1" fmla="*/ 592 h 2429"/>
              <a:gd name="T2" fmla="*/ 3232 w 4357"/>
              <a:gd name="T3" fmla="*/ 592 h 2429"/>
              <a:gd name="T4" fmla="*/ 2777 w 4357"/>
              <a:gd name="T5" fmla="*/ 1195 h 2429"/>
              <a:gd name="T6" fmla="*/ 2621 w 4357"/>
              <a:gd name="T7" fmla="*/ 1265 h 2429"/>
              <a:gd name="T8" fmla="*/ 2848 w 4357"/>
              <a:gd name="T9" fmla="*/ 1644 h 2429"/>
              <a:gd name="T10" fmla="*/ 3040 w 4357"/>
              <a:gd name="T11" fmla="*/ 2304 h 2429"/>
              <a:gd name="T12" fmla="*/ 0 w 4357"/>
              <a:gd name="T13" fmla="*/ 2208 h 2429"/>
              <a:gd name="T14" fmla="*/ 0 w 4357"/>
              <a:gd name="T15" fmla="*/ 592 h 24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357" h="2429">
                <a:moveTo>
                  <a:pt x="0" y="592"/>
                </a:moveTo>
                <a:cubicBezTo>
                  <a:pt x="0" y="592"/>
                  <a:pt x="1964" y="0"/>
                  <a:pt x="3232" y="592"/>
                </a:cubicBezTo>
                <a:cubicBezTo>
                  <a:pt x="4357" y="1117"/>
                  <a:pt x="3079" y="1186"/>
                  <a:pt x="2777" y="1195"/>
                </a:cubicBezTo>
                <a:cubicBezTo>
                  <a:pt x="2718" y="1196"/>
                  <a:pt x="2661" y="1221"/>
                  <a:pt x="2621" y="1265"/>
                </a:cubicBezTo>
                <a:cubicBezTo>
                  <a:pt x="2553" y="1339"/>
                  <a:pt x="2523" y="1471"/>
                  <a:pt x="2848" y="1644"/>
                </a:cubicBezTo>
                <a:cubicBezTo>
                  <a:pt x="3368" y="1920"/>
                  <a:pt x="3396" y="2196"/>
                  <a:pt x="3040" y="2304"/>
                </a:cubicBezTo>
                <a:cubicBezTo>
                  <a:pt x="2629" y="2429"/>
                  <a:pt x="0" y="2208"/>
                  <a:pt x="0" y="2208"/>
                </a:cubicBezTo>
                <a:lnTo>
                  <a:pt x="0" y="592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23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5" name="Freeform 5">
            <a:extLst>
              <a:ext uri="{FF2B5EF4-FFF2-40B4-BE49-F238E27FC236}">
                <a16:creationId xmlns:a16="http://schemas.microsoft.com/office/drawing/2014/main" id="{C2E8BCB0-2695-45F4-B544-11AF81033D85}"/>
              </a:ext>
            </a:extLst>
          </p:cNvPr>
          <p:cNvSpPr>
            <a:spLocks/>
          </p:cNvSpPr>
          <p:nvPr userDrawn="1"/>
        </p:nvSpPr>
        <p:spPr bwMode="auto">
          <a:xfrm>
            <a:off x="2743200" y="3636650"/>
            <a:ext cx="94488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EA8F6A47-44E1-46BB-BA10-339B5084D5D0}"/>
              </a:ext>
            </a:extLst>
          </p:cNvPr>
          <p:cNvSpPr/>
          <p:nvPr userDrawn="1"/>
        </p:nvSpPr>
        <p:spPr>
          <a:xfrm>
            <a:off x="0" y="1"/>
            <a:ext cx="4362450" cy="3919337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椭圆 55">
            <a:extLst>
              <a:ext uri="{FF2B5EF4-FFF2-40B4-BE49-F238E27FC236}">
                <a16:creationId xmlns:a16="http://schemas.microsoft.com/office/drawing/2014/main" id="{DE040619-F39F-44AE-A60B-08D1066BFEF5}"/>
              </a:ext>
            </a:extLst>
          </p:cNvPr>
          <p:cNvSpPr/>
          <p:nvPr userDrawn="1"/>
        </p:nvSpPr>
        <p:spPr>
          <a:xfrm>
            <a:off x="934647" y="3122083"/>
            <a:ext cx="2611078" cy="2611078"/>
          </a:xfrm>
          <a:prstGeom prst="ellipse">
            <a:avLst/>
          </a:prstGeom>
          <a:gradFill>
            <a:gsLst>
              <a:gs pos="100000">
                <a:schemeClr val="accent2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Freeform 13">
            <a:extLst>
              <a:ext uri="{FF2B5EF4-FFF2-40B4-BE49-F238E27FC236}">
                <a16:creationId xmlns:a16="http://schemas.microsoft.com/office/drawing/2014/main" id="{4C782D13-E61E-4D14-9A33-F44EA27CA709}"/>
              </a:ext>
            </a:extLst>
          </p:cNvPr>
          <p:cNvSpPr>
            <a:spLocks/>
          </p:cNvSpPr>
          <p:nvPr userDrawn="1"/>
        </p:nvSpPr>
        <p:spPr bwMode="auto">
          <a:xfrm>
            <a:off x="1453964" y="1088581"/>
            <a:ext cx="3427706" cy="2895623"/>
          </a:xfrm>
          <a:custGeom>
            <a:avLst/>
            <a:gdLst>
              <a:gd name="T0" fmla="*/ 1149 w 1149"/>
              <a:gd name="T1" fmla="*/ 86 h 971"/>
              <a:gd name="T2" fmla="*/ 427 w 1149"/>
              <a:gd name="T3" fmla="*/ 86 h 971"/>
              <a:gd name="T4" fmla="*/ 539 w 1149"/>
              <a:gd name="T5" fmla="*/ 300 h 971"/>
              <a:gd name="T6" fmla="*/ 254 w 1149"/>
              <a:gd name="T7" fmla="*/ 554 h 971"/>
              <a:gd name="T8" fmla="*/ 336 w 1149"/>
              <a:gd name="T9" fmla="*/ 895 h 971"/>
              <a:gd name="T10" fmla="*/ 1149 w 1149"/>
              <a:gd name="T11" fmla="*/ 895 h 971"/>
              <a:gd name="T12" fmla="*/ 1149 w 1149"/>
              <a:gd name="T13" fmla="*/ 86 h 9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9" h="971">
                <a:moveTo>
                  <a:pt x="1149" y="86"/>
                </a:moveTo>
                <a:cubicBezTo>
                  <a:pt x="1149" y="86"/>
                  <a:pt x="508" y="0"/>
                  <a:pt x="427" y="86"/>
                </a:cubicBezTo>
                <a:cubicBezTo>
                  <a:pt x="343" y="175"/>
                  <a:pt x="444" y="199"/>
                  <a:pt x="539" y="300"/>
                </a:cubicBezTo>
                <a:cubicBezTo>
                  <a:pt x="615" y="381"/>
                  <a:pt x="508" y="473"/>
                  <a:pt x="254" y="554"/>
                </a:cubicBezTo>
                <a:cubicBezTo>
                  <a:pt x="0" y="635"/>
                  <a:pt x="20" y="818"/>
                  <a:pt x="336" y="895"/>
                </a:cubicBezTo>
                <a:cubicBezTo>
                  <a:pt x="651" y="971"/>
                  <a:pt x="1149" y="895"/>
                  <a:pt x="1149" y="895"/>
                </a:cubicBezTo>
                <a:lnTo>
                  <a:pt x="1149" y="86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EF8D7616-45BD-4C83-8015-231C18266E6D}"/>
              </a:ext>
            </a:extLst>
          </p:cNvPr>
          <p:cNvSpPr/>
          <p:nvPr userDrawn="1"/>
        </p:nvSpPr>
        <p:spPr>
          <a:xfrm flipV="1">
            <a:off x="0" y="4353146"/>
            <a:ext cx="7610576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C6FA2216-82B7-4F61-8629-CA98E8FA06E1}"/>
              </a:ext>
            </a:extLst>
          </p:cNvPr>
          <p:cNvSpPr/>
          <p:nvPr userDrawn="1"/>
        </p:nvSpPr>
        <p:spPr>
          <a:xfrm>
            <a:off x="3268795" y="992944"/>
            <a:ext cx="5654410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3262420" y="3120767"/>
            <a:ext cx="5654410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3262419" y="1862835"/>
            <a:ext cx="5654410" cy="1257932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262420" y="4530104"/>
            <a:ext cx="565441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62419" y="4847274"/>
            <a:ext cx="565441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微软黑科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3E71CC84-193F-4D28-98D9-17F9952F968C}"/>
              </a:ext>
            </a:extLst>
          </p:cNvPr>
          <p:cNvCxnSpPr/>
          <p:nvPr userDrawn="1"/>
        </p:nvCxnSpPr>
        <p:spPr>
          <a:xfrm>
            <a:off x="0" y="657288"/>
            <a:ext cx="12192000" cy="0"/>
          </a:xfrm>
          <a:prstGeom prst="line">
            <a:avLst/>
          </a:prstGeom>
          <a:ln>
            <a:solidFill>
              <a:srgbClr val="E73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>
            <a:extLst>
              <a:ext uri="{FF2B5EF4-FFF2-40B4-BE49-F238E27FC236}">
                <a16:creationId xmlns:a16="http://schemas.microsoft.com/office/drawing/2014/main" id="{23A9F197-1133-4CEE-860F-85366976D0AC}"/>
              </a:ext>
            </a:extLst>
          </p:cNvPr>
          <p:cNvSpPr/>
          <p:nvPr userDrawn="1"/>
        </p:nvSpPr>
        <p:spPr>
          <a:xfrm>
            <a:off x="0" y="3091547"/>
            <a:ext cx="12192000" cy="3766453"/>
          </a:xfrm>
          <a:prstGeom prst="rect">
            <a:avLst/>
          </a:prstGeom>
          <a:solidFill>
            <a:srgbClr val="E73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AA954438-2CEB-4119-883B-8B9196F98504}"/>
              </a:ext>
            </a:extLst>
          </p:cNvPr>
          <p:cNvSpPr/>
          <p:nvPr userDrawn="1"/>
        </p:nvSpPr>
        <p:spPr>
          <a:xfrm>
            <a:off x="621395" y="1362836"/>
            <a:ext cx="3462340" cy="3462340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4CD1A364-B227-4CFB-9287-6198C6C0443B}"/>
              </a:ext>
            </a:extLst>
          </p:cNvPr>
          <p:cNvSpPr/>
          <p:nvPr userDrawn="1"/>
        </p:nvSpPr>
        <p:spPr>
          <a:xfrm>
            <a:off x="4374467" y="1362836"/>
            <a:ext cx="3462340" cy="3462340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BEA6AD26-5781-4DAD-8C16-8C73B2C177AD}"/>
              </a:ext>
            </a:extLst>
          </p:cNvPr>
          <p:cNvSpPr txBox="1"/>
          <p:nvPr userDrawn="1"/>
        </p:nvSpPr>
        <p:spPr>
          <a:xfrm>
            <a:off x="1656327" y="286129"/>
            <a:ext cx="8879354" cy="6701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  <a:spcBef>
                <a:spcPts val="600"/>
              </a:spcBef>
            </a:pPr>
            <a:r>
              <a:rPr lang="zh-CN" altLang="en-US" sz="3200" b="1" kern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微信扫描小程序码，使用微软移动办公黑科技 </a:t>
            </a:r>
            <a:endParaRPr lang="en-US" sz="3200" b="1" kern="0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72806FD0-33B9-40F1-B8F9-079524CA002C}"/>
              </a:ext>
            </a:extLst>
          </p:cNvPr>
          <p:cNvCxnSpPr>
            <a:cxnSpLocks/>
          </p:cNvCxnSpPr>
          <p:nvPr userDrawn="1"/>
        </p:nvCxnSpPr>
        <p:spPr>
          <a:xfrm flipH="1">
            <a:off x="1523089" y="369629"/>
            <a:ext cx="266460" cy="622048"/>
          </a:xfrm>
          <a:prstGeom prst="line">
            <a:avLst/>
          </a:prstGeom>
          <a:ln>
            <a:solidFill>
              <a:srgbClr val="E73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159FFD7E-3944-43A3-A5DD-D8673483D044}"/>
              </a:ext>
            </a:extLst>
          </p:cNvPr>
          <p:cNvCxnSpPr>
            <a:cxnSpLocks/>
          </p:cNvCxnSpPr>
          <p:nvPr userDrawn="1"/>
        </p:nvCxnSpPr>
        <p:spPr>
          <a:xfrm flipH="1">
            <a:off x="10402443" y="369629"/>
            <a:ext cx="266460" cy="622048"/>
          </a:xfrm>
          <a:prstGeom prst="line">
            <a:avLst/>
          </a:prstGeom>
          <a:ln>
            <a:solidFill>
              <a:srgbClr val="E73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C76706F4-B20C-489C-ACB9-010EF43FEF70}"/>
              </a:ext>
            </a:extLst>
          </p:cNvPr>
          <p:cNvSpPr/>
          <p:nvPr userDrawn="1"/>
        </p:nvSpPr>
        <p:spPr>
          <a:xfrm>
            <a:off x="8159751" y="1362836"/>
            <a:ext cx="3462340" cy="3462340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9A11A6D6-1DBD-4A10-8942-D3DDC4E182E9}"/>
              </a:ext>
            </a:extLst>
          </p:cNvPr>
          <p:cNvSpPr txBox="1"/>
          <p:nvPr userDrawn="1"/>
        </p:nvSpPr>
        <p:spPr>
          <a:xfrm>
            <a:off x="987447" y="5138740"/>
            <a:ext cx="2730235" cy="907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在微信访问</a:t>
            </a:r>
            <a:r>
              <a:rPr lang="en-US" altLang="zh-CN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neDrive</a:t>
            </a:r>
          </a:p>
          <a:p>
            <a:pPr algn="ctr">
              <a:lnSpc>
                <a:spcPct val="140000"/>
              </a:lnSpc>
            </a:pP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「 微软</a:t>
            </a:r>
            <a:r>
              <a:rPr lang="en-US" altLang="zh-CN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ffice</a:t>
            </a: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文档 」</a:t>
            </a:r>
            <a:endParaRPr lang="en-US" sz="2000" b="1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6274E825-3465-469E-BD06-097F250CA889}"/>
              </a:ext>
            </a:extLst>
          </p:cNvPr>
          <p:cNvSpPr txBox="1"/>
          <p:nvPr userDrawn="1"/>
        </p:nvSpPr>
        <p:spPr>
          <a:xfrm>
            <a:off x="4862328" y="5138740"/>
            <a:ext cx="2467342" cy="907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让你的文档会说话</a:t>
            </a:r>
            <a:endParaRPr lang="en-US" altLang="zh-CN" sz="2000" kern="0">
              <a:solidFill>
                <a:schemeClr val="bg1">
                  <a:alpha val="77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>
              <a:lnSpc>
                <a:spcPct val="140000"/>
              </a:lnSpc>
            </a:pP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「 微软听听文档 」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4EC4AC92-2800-4841-84A3-26E495F2D178}"/>
              </a:ext>
            </a:extLst>
          </p:cNvPr>
          <p:cNvSpPr txBox="1"/>
          <p:nvPr userDrawn="1"/>
        </p:nvSpPr>
        <p:spPr>
          <a:xfrm>
            <a:off x="8644425" y="5138740"/>
            <a:ext cx="2492990" cy="907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你的文档创作小助手</a:t>
            </a:r>
            <a:endParaRPr lang="en-US" altLang="zh-CN" sz="2000" kern="0">
              <a:solidFill>
                <a:schemeClr val="bg1">
                  <a:alpha val="77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>
              <a:lnSpc>
                <a:spcPct val="140000"/>
              </a:lnSpc>
            </a:pP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「 微软</a:t>
            </a:r>
            <a:r>
              <a:rPr lang="en-US" altLang="zh-CN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AI</a:t>
            </a: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识图 」</a:t>
            </a:r>
          </a:p>
        </p:txBody>
      </p: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F3D082CA-914B-42B8-A86E-16893B7234C9}"/>
              </a:ext>
            </a:extLst>
          </p:cNvPr>
          <p:cNvCxnSpPr/>
          <p:nvPr userDrawn="1"/>
        </p:nvCxnSpPr>
        <p:spPr>
          <a:xfrm>
            <a:off x="4198035" y="5330650"/>
            <a:ext cx="0" cy="653143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5421E3BB-42AC-4DCD-9031-7215136A1844}"/>
              </a:ext>
            </a:extLst>
          </p:cNvPr>
          <p:cNvCxnSpPr/>
          <p:nvPr userDrawn="1"/>
        </p:nvCxnSpPr>
        <p:spPr>
          <a:xfrm>
            <a:off x="7976215" y="5330650"/>
            <a:ext cx="0" cy="653143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图片 21">
            <a:hlinkClick r:id="rId2"/>
            <a:extLst>
              <a:ext uri="{FF2B5EF4-FFF2-40B4-BE49-F238E27FC236}">
                <a16:creationId xmlns:a16="http://schemas.microsoft.com/office/drawing/2014/main" id="{46C855E7-2DCA-4970-A954-7CB7F69FAD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657" y="6345797"/>
            <a:ext cx="1712686" cy="226074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A7F32EC9-ED26-45EE-9DC4-21C3241FF7A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716" y="1726788"/>
            <a:ext cx="2743200" cy="27432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36F84124-CE71-4190-B92C-B61E496F7B7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82" y="1726788"/>
            <a:ext cx="2743200" cy="2743200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39B45288-397E-405A-A715-DCD4FE40DCE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9320" y="1726788"/>
            <a:ext cx="2743200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671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1CE3DC02-40DE-4998-B99A-39FCAEB06AC5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687991" y="2215242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689107" y="3110592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A81246B4-0650-4320-A820-B417F479A53E}"/>
              </a:ext>
            </a:extLst>
          </p:cNvPr>
          <p:cNvSpPr>
            <a:spLocks/>
          </p:cNvSpPr>
          <p:nvPr userDrawn="1"/>
        </p:nvSpPr>
        <p:spPr bwMode="auto">
          <a:xfrm>
            <a:off x="0" y="1699690"/>
            <a:ext cx="12192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E8E136EA-A8F2-47DA-A96D-77980EAAC351}"/>
              </a:ext>
            </a:extLst>
          </p:cNvPr>
          <p:cNvSpPr>
            <a:spLocks/>
          </p:cNvSpPr>
          <p:nvPr userDrawn="1"/>
        </p:nvSpPr>
        <p:spPr bwMode="auto">
          <a:xfrm>
            <a:off x="2743200" y="3636650"/>
            <a:ext cx="94488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012BB78F-E5F9-495E-969F-BE08951B2F76}"/>
              </a:ext>
            </a:extLst>
          </p:cNvPr>
          <p:cNvSpPr/>
          <p:nvPr userDrawn="1"/>
        </p:nvSpPr>
        <p:spPr>
          <a:xfrm flipV="1">
            <a:off x="0" y="4353146"/>
            <a:ext cx="7610576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CF4B0F25-8F09-4535-B23E-2A4A5AAB2C37}"/>
              </a:ext>
            </a:extLst>
          </p:cNvPr>
          <p:cNvSpPr/>
          <p:nvPr userDrawn="1"/>
        </p:nvSpPr>
        <p:spPr>
          <a:xfrm>
            <a:off x="0" y="1"/>
            <a:ext cx="3213100" cy="2886731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9/2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9/29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9B7B4809-6422-487B-B339-AC10E4A5D4B1}"/>
              </a:ext>
            </a:extLst>
          </p:cNvPr>
          <p:cNvGrpSpPr/>
          <p:nvPr userDrawn="1"/>
        </p:nvGrpSpPr>
        <p:grpSpPr>
          <a:xfrm flipH="1">
            <a:off x="0" y="1"/>
            <a:ext cx="12192000" cy="6857999"/>
            <a:chOff x="0" y="1"/>
            <a:chExt cx="12192000" cy="6857999"/>
          </a:xfrm>
        </p:grpSpPr>
        <p:sp>
          <p:nvSpPr>
            <p:cNvPr id="5" name="椭圆 4">
              <a:extLst>
                <a:ext uri="{FF2B5EF4-FFF2-40B4-BE49-F238E27FC236}">
                  <a16:creationId xmlns:a16="http://schemas.microsoft.com/office/drawing/2014/main" id="{FA9CED44-D7E4-44D2-B7FD-F89B4DCC6E54}"/>
                </a:ext>
              </a:extLst>
            </p:cNvPr>
            <p:cNvSpPr/>
            <p:nvPr userDrawn="1"/>
          </p:nvSpPr>
          <p:spPr>
            <a:xfrm>
              <a:off x="7698671" y="715249"/>
              <a:ext cx="3530051" cy="3530051"/>
            </a:xfrm>
            <a:prstGeom prst="ellipse">
              <a:avLst/>
            </a:pr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84BF3A0C-4197-4E26-B94B-4269BB6A25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699690"/>
              <a:ext cx="12192000" cy="5158309"/>
            </a:xfrm>
            <a:custGeom>
              <a:avLst/>
              <a:gdLst>
                <a:gd name="connsiteX0" fmla="*/ 9136649 w 12192000"/>
                <a:gd name="connsiteY0" fmla="*/ 19 h 5158309"/>
                <a:gd name="connsiteX1" fmla="*/ 12127529 w 12192000"/>
                <a:gd name="connsiteY1" fmla="*/ 961461 h 5158309"/>
                <a:gd name="connsiteX2" fmla="*/ 12192000 w 12192000"/>
                <a:gd name="connsiteY2" fmla="*/ 999249 h 5158309"/>
                <a:gd name="connsiteX3" fmla="*/ 12192000 w 12192000"/>
                <a:gd name="connsiteY3" fmla="*/ 5158309 h 5158309"/>
                <a:gd name="connsiteX4" fmla="*/ 0 w 12192000"/>
                <a:gd name="connsiteY4" fmla="*/ 5158309 h 5158309"/>
                <a:gd name="connsiteX5" fmla="*/ 0 w 12192000"/>
                <a:gd name="connsiteY5" fmla="*/ 4381506 h 5158309"/>
                <a:gd name="connsiteX6" fmla="*/ 766800 w 12192000"/>
                <a:gd name="connsiteY6" fmla="*/ 4316986 h 5158309"/>
                <a:gd name="connsiteX7" fmla="*/ 8952198 w 12192000"/>
                <a:gd name="connsiteY7" fmla="*/ 2840206 h 5158309"/>
                <a:gd name="connsiteX8" fmla="*/ 8329819 w 12192000"/>
                <a:gd name="connsiteY8" fmla="*/ 1097121 h 5158309"/>
                <a:gd name="connsiteX9" fmla="*/ 8478005 w 12192000"/>
                <a:gd name="connsiteY9" fmla="*/ 73404 h 5158309"/>
                <a:gd name="connsiteX10" fmla="*/ 9136649 w 12192000"/>
                <a:gd name="connsiteY10" fmla="*/ 19 h 5158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192000" h="5158309">
                  <a:moveTo>
                    <a:pt x="9136649" y="19"/>
                  </a:moveTo>
                  <a:cubicBezTo>
                    <a:pt x="10314094" y="3991"/>
                    <a:pt x="11572111" y="642470"/>
                    <a:pt x="12127529" y="961461"/>
                  </a:cubicBezTo>
                  <a:lnTo>
                    <a:pt x="12192000" y="999249"/>
                  </a:lnTo>
                  <a:lnTo>
                    <a:pt x="12192000" y="5158309"/>
                  </a:lnTo>
                  <a:lnTo>
                    <a:pt x="0" y="5158309"/>
                  </a:lnTo>
                  <a:lnTo>
                    <a:pt x="0" y="4381506"/>
                  </a:lnTo>
                  <a:lnTo>
                    <a:pt x="766800" y="4316986"/>
                  </a:lnTo>
                  <a:cubicBezTo>
                    <a:pt x="4095417" y="4019555"/>
                    <a:pt x="7729668" y="3545741"/>
                    <a:pt x="8952198" y="2840206"/>
                  </a:cubicBezTo>
                  <a:cubicBezTo>
                    <a:pt x="11397259" y="1429137"/>
                    <a:pt x="8329819" y="1097121"/>
                    <a:pt x="8329819" y="1097121"/>
                  </a:cubicBezTo>
                  <a:cubicBezTo>
                    <a:pt x="8329819" y="1097121"/>
                    <a:pt x="6655323" y="516093"/>
                    <a:pt x="8478005" y="73404"/>
                  </a:cubicBezTo>
                  <a:cubicBezTo>
                    <a:pt x="8691022" y="21527"/>
                    <a:pt x="8912374" y="-737"/>
                    <a:pt x="9136649" y="19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D6F55EC3-3122-4888-ABD7-2A9003A2B6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8307" y="2039469"/>
              <a:ext cx="6070237" cy="3380331"/>
            </a:xfrm>
            <a:custGeom>
              <a:avLst/>
              <a:gdLst>
                <a:gd name="T0" fmla="*/ 0 w 4357"/>
                <a:gd name="T1" fmla="*/ 592 h 2429"/>
                <a:gd name="T2" fmla="*/ 3232 w 4357"/>
                <a:gd name="T3" fmla="*/ 592 h 2429"/>
                <a:gd name="T4" fmla="*/ 2777 w 4357"/>
                <a:gd name="T5" fmla="*/ 1195 h 2429"/>
                <a:gd name="T6" fmla="*/ 2621 w 4357"/>
                <a:gd name="T7" fmla="*/ 1265 h 2429"/>
                <a:gd name="T8" fmla="*/ 2848 w 4357"/>
                <a:gd name="T9" fmla="*/ 1644 h 2429"/>
                <a:gd name="T10" fmla="*/ 3040 w 4357"/>
                <a:gd name="T11" fmla="*/ 2304 h 2429"/>
                <a:gd name="T12" fmla="*/ 0 w 4357"/>
                <a:gd name="T13" fmla="*/ 2208 h 2429"/>
                <a:gd name="T14" fmla="*/ 0 w 4357"/>
                <a:gd name="T15" fmla="*/ 592 h 2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57" h="2429">
                  <a:moveTo>
                    <a:pt x="0" y="592"/>
                  </a:moveTo>
                  <a:cubicBezTo>
                    <a:pt x="0" y="592"/>
                    <a:pt x="1964" y="0"/>
                    <a:pt x="3232" y="592"/>
                  </a:cubicBezTo>
                  <a:cubicBezTo>
                    <a:pt x="4357" y="1117"/>
                    <a:pt x="3079" y="1186"/>
                    <a:pt x="2777" y="1195"/>
                  </a:cubicBezTo>
                  <a:cubicBezTo>
                    <a:pt x="2718" y="1196"/>
                    <a:pt x="2661" y="1221"/>
                    <a:pt x="2621" y="1265"/>
                  </a:cubicBezTo>
                  <a:cubicBezTo>
                    <a:pt x="2553" y="1339"/>
                    <a:pt x="2523" y="1471"/>
                    <a:pt x="2848" y="1644"/>
                  </a:cubicBezTo>
                  <a:cubicBezTo>
                    <a:pt x="3368" y="1920"/>
                    <a:pt x="3396" y="2196"/>
                    <a:pt x="3040" y="2304"/>
                  </a:cubicBezTo>
                  <a:cubicBezTo>
                    <a:pt x="2629" y="2429"/>
                    <a:pt x="0" y="2208"/>
                    <a:pt x="0" y="2208"/>
                  </a:cubicBezTo>
                  <a:lnTo>
                    <a:pt x="0" y="592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23000">
                  <a:schemeClr val="accent4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2504953-DBCA-47F8-8B5A-4EF71CB804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43200" y="3636650"/>
              <a:ext cx="9448800" cy="3221350"/>
            </a:xfrm>
            <a:custGeom>
              <a:avLst/>
              <a:gdLst>
                <a:gd name="T0" fmla="*/ 0 w 4860"/>
                <a:gd name="T1" fmla="*/ 1468 h 1672"/>
                <a:gd name="T2" fmla="*/ 3924 w 4860"/>
                <a:gd name="T3" fmla="*/ 920 h 1672"/>
                <a:gd name="T4" fmla="*/ 3756 w 4860"/>
                <a:gd name="T5" fmla="*/ 416 h 1672"/>
                <a:gd name="T6" fmla="*/ 3796 w 4860"/>
                <a:gd name="T7" fmla="*/ 120 h 1672"/>
                <a:gd name="T8" fmla="*/ 4860 w 4860"/>
                <a:gd name="T9" fmla="*/ 428 h 1672"/>
                <a:gd name="T10" fmla="*/ 4860 w 4860"/>
                <a:gd name="T11" fmla="*/ 1672 h 1672"/>
                <a:gd name="T12" fmla="*/ 0 w 4860"/>
                <a:gd name="T13" fmla="*/ 1672 h 1672"/>
                <a:gd name="T14" fmla="*/ 0 w 4860"/>
                <a:gd name="T15" fmla="*/ 1468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60" h="1672">
                  <a:moveTo>
                    <a:pt x="0" y="1468"/>
                  </a:moveTo>
                  <a:cubicBezTo>
                    <a:pt x="0" y="1468"/>
                    <a:pt x="3264" y="1328"/>
                    <a:pt x="3924" y="920"/>
                  </a:cubicBezTo>
                  <a:cubicBezTo>
                    <a:pt x="4584" y="512"/>
                    <a:pt x="3756" y="416"/>
                    <a:pt x="3756" y="416"/>
                  </a:cubicBezTo>
                  <a:cubicBezTo>
                    <a:pt x="3756" y="416"/>
                    <a:pt x="3304" y="248"/>
                    <a:pt x="3796" y="120"/>
                  </a:cubicBezTo>
                  <a:cubicBezTo>
                    <a:pt x="4256" y="0"/>
                    <a:pt x="4860" y="428"/>
                    <a:pt x="4860" y="428"/>
                  </a:cubicBezTo>
                  <a:cubicBezTo>
                    <a:pt x="4860" y="1672"/>
                    <a:pt x="4860" y="1672"/>
                    <a:pt x="4860" y="1672"/>
                  </a:cubicBezTo>
                  <a:cubicBezTo>
                    <a:pt x="0" y="1672"/>
                    <a:pt x="0" y="1672"/>
                    <a:pt x="0" y="1672"/>
                  </a:cubicBezTo>
                  <a:lnTo>
                    <a:pt x="0" y="1468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6000">
                  <a:schemeClr val="bg1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25123C0C-7740-4668-9994-48629AE91F14}"/>
                </a:ext>
              </a:extLst>
            </p:cNvPr>
            <p:cNvSpPr/>
            <p:nvPr userDrawn="1"/>
          </p:nvSpPr>
          <p:spPr>
            <a:xfrm>
              <a:off x="0" y="1"/>
              <a:ext cx="4362450" cy="3919337"/>
            </a:xfrm>
            <a:custGeom>
              <a:avLst/>
              <a:gdLst>
                <a:gd name="connsiteX0" fmla="*/ 0 w 5276850"/>
                <a:gd name="connsiteY0" fmla="*/ 0 h 4740857"/>
                <a:gd name="connsiteX1" fmla="*/ 4934008 w 5276850"/>
                <a:gd name="connsiteY1" fmla="*/ 0 h 4740857"/>
                <a:gd name="connsiteX2" fmla="*/ 5018610 w 5276850"/>
                <a:gd name="connsiteY2" fmla="*/ 175624 h 4740857"/>
                <a:gd name="connsiteX3" fmla="*/ 5276850 w 5276850"/>
                <a:gd name="connsiteY3" fmla="*/ 1454732 h 4740857"/>
                <a:gd name="connsiteX4" fmla="*/ 1990725 w 5276850"/>
                <a:gd name="connsiteY4" fmla="*/ 4740857 h 4740857"/>
                <a:gd name="connsiteX5" fmla="*/ 153421 w 5276850"/>
                <a:gd name="connsiteY5" fmla="*/ 4179639 h 4740857"/>
                <a:gd name="connsiteX6" fmla="*/ 0 w 5276850"/>
                <a:gd name="connsiteY6" fmla="*/ 4064913 h 47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76850" h="4740857">
                  <a:moveTo>
                    <a:pt x="0" y="0"/>
                  </a:moveTo>
                  <a:lnTo>
                    <a:pt x="4934008" y="0"/>
                  </a:lnTo>
                  <a:lnTo>
                    <a:pt x="5018610" y="175624"/>
                  </a:lnTo>
                  <a:cubicBezTo>
                    <a:pt x="5184897" y="568770"/>
                    <a:pt x="5276850" y="1001013"/>
                    <a:pt x="5276850" y="1454732"/>
                  </a:cubicBezTo>
                  <a:cubicBezTo>
                    <a:pt x="5276850" y="3269609"/>
                    <a:pt x="3805602" y="4740857"/>
                    <a:pt x="1990725" y="4740857"/>
                  </a:cubicBezTo>
                  <a:cubicBezTo>
                    <a:pt x="1310146" y="4740857"/>
                    <a:pt x="677890" y="4533963"/>
                    <a:pt x="153421" y="4179639"/>
                  </a:cubicBezTo>
                  <a:lnTo>
                    <a:pt x="0" y="4064913"/>
                  </a:lnTo>
                  <a:close/>
                </a:path>
              </a:pathLst>
            </a:cu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DD990525-EB32-44BF-B51C-C218BECA01C2}"/>
                </a:ext>
              </a:extLst>
            </p:cNvPr>
            <p:cNvSpPr/>
            <p:nvPr userDrawn="1"/>
          </p:nvSpPr>
          <p:spPr>
            <a:xfrm>
              <a:off x="934647" y="3122083"/>
              <a:ext cx="2611078" cy="2611078"/>
            </a:xfrm>
            <a:prstGeom prst="ellipse">
              <a:avLst/>
            </a:prstGeom>
            <a:gradFill>
              <a:gsLst>
                <a:gs pos="100000">
                  <a:schemeClr val="accent2"/>
                </a:gs>
                <a:gs pos="0">
                  <a:schemeClr val="accent4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5F611E8F-302C-455F-8D3A-3CF52F0DA6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3964" y="1088581"/>
              <a:ext cx="3427706" cy="2895623"/>
            </a:xfrm>
            <a:custGeom>
              <a:avLst/>
              <a:gdLst>
                <a:gd name="T0" fmla="*/ 1149 w 1149"/>
                <a:gd name="T1" fmla="*/ 86 h 971"/>
                <a:gd name="T2" fmla="*/ 427 w 1149"/>
                <a:gd name="T3" fmla="*/ 86 h 971"/>
                <a:gd name="T4" fmla="*/ 539 w 1149"/>
                <a:gd name="T5" fmla="*/ 300 h 971"/>
                <a:gd name="T6" fmla="*/ 254 w 1149"/>
                <a:gd name="T7" fmla="*/ 554 h 971"/>
                <a:gd name="T8" fmla="*/ 336 w 1149"/>
                <a:gd name="T9" fmla="*/ 895 h 971"/>
                <a:gd name="T10" fmla="*/ 1149 w 1149"/>
                <a:gd name="T11" fmla="*/ 895 h 971"/>
                <a:gd name="T12" fmla="*/ 1149 w 1149"/>
                <a:gd name="T13" fmla="*/ 86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9" h="971">
                  <a:moveTo>
                    <a:pt x="1149" y="86"/>
                  </a:moveTo>
                  <a:cubicBezTo>
                    <a:pt x="1149" y="86"/>
                    <a:pt x="508" y="0"/>
                    <a:pt x="427" y="86"/>
                  </a:cubicBezTo>
                  <a:cubicBezTo>
                    <a:pt x="343" y="175"/>
                    <a:pt x="444" y="199"/>
                    <a:pt x="539" y="300"/>
                  </a:cubicBezTo>
                  <a:cubicBezTo>
                    <a:pt x="615" y="381"/>
                    <a:pt x="508" y="473"/>
                    <a:pt x="254" y="554"/>
                  </a:cubicBezTo>
                  <a:cubicBezTo>
                    <a:pt x="0" y="635"/>
                    <a:pt x="20" y="818"/>
                    <a:pt x="336" y="895"/>
                  </a:cubicBezTo>
                  <a:cubicBezTo>
                    <a:pt x="651" y="971"/>
                    <a:pt x="1149" y="895"/>
                    <a:pt x="1149" y="895"/>
                  </a:cubicBezTo>
                  <a:lnTo>
                    <a:pt x="1149" y="86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735C86D5-A76F-422D-BD11-9ABEDF688054}"/>
                </a:ext>
              </a:extLst>
            </p:cNvPr>
            <p:cNvSpPr/>
            <p:nvPr userDrawn="1"/>
          </p:nvSpPr>
          <p:spPr>
            <a:xfrm flipV="1">
              <a:off x="0" y="4353146"/>
              <a:ext cx="7610576" cy="2504854"/>
            </a:xfrm>
            <a:custGeom>
              <a:avLst/>
              <a:gdLst>
                <a:gd name="connsiteX0" fmla="*/ 3160308 w 7610576"/>
                <a:gd name="connsiteY0" fmla="*/ 2504854 h 2504854"/>
                <a:gd name="connsiteX1" fmla="*/ 7486141 w 7610576"/>
                <a:gd name="connsiteY1" fmla="*/ 204827 h 2504854"/>
                <a:gd name="connsiteX2" fmla="*/ 7610576 w 7610576"/>
                <a:gd name="connsiteY2" fmla="*/ 0 h 2504854"/>
                <a:gd name="connsiteX3" fmla="*/ 0 w 7610576"/>
                <a:gd name="connsiteY3" fmla="*/ 0 h 2504854"/>
                <a:gd name="connsiteX4" fmla="*/ 0 w 7610576"/>
                <a:gd name="connsiteY4" fmla="*/ 1431782 h 2504854"/>
                <a:gd name="connsiteX5" fmla="*/ 243558 w 7610576"/>
                <a:gd name="connsiteY5" fmla="*/ 1613912 h 2504854"/>
                <a:gd name="connsiteX6" fmla="*/ 3160308 w 7610576"/>
                <a:gd name="connsiteY6" fmla="*/ 2504854 h 2504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10576" h="2504854">
                  <a:moveTo>
                    <a:pt x="3160308" y="2504854"/>
                  </a:moveTo>
                  <a:cubicBezTo>
                    <a:pt x="4961025" y="2504854"/>
                    <a:pt x="6548649" y="1592499"/>
                    <a:pt x="7486141" y="204827"/>
                  </a:cubicBezTo>
                  <a:lnTo>
                    <a:pt x="7610576" y="0"/>
                  </a:lnTo>
                  <a:lnTo>
                    <a:pt x="0" y="0"/>
                  </a:lnTo>
                  <a:lnTo>
                    <a:pt x="0" y="1431782"/>
                  </a:lnTo>
                  <a:lnTo>
                    <a:pt x="243558" y="1613912"/>
                  </a:lnTo>
                  <a:cubicBezTo>
                    <a:pt x="1076162" y="2176407"/>
                    <a:pt x="2079878" y="2504854"/>
                    <a:pt x="3160308" y="2504854"/>
                  </a:cubicBez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6" name="矩形 15">
            <a:extLst>
              <a:ext uri="{FF2B5EF4-FFF2-40B4-BE49-F238E27FC236}">
                <a16:creationId xmlns:a16="http://schemas.microsoft.com/office/drawing/2014/main" id="{6B4C74D3-0C8F-48A5-80B7-74125884F2E3}"/>
              </a:ext>
            </a:extLst>
          </p:cNvPr>
          <p:cNvSpPr/>
          <p:nvPr userDrawn="1"/>
        </p:nvSpPr>
        <p:spPr>
          <a:xfrm>
            <a:off x="3268795" y="1030768"/>
            <a:ext cx="5654410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82962" y="2034337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2962" y="4340573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2963" y="4044302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模板使用技巧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440603" y="759873"/>
            <a:ext cx="1713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lang="zh-CN" altLang="en-US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模板使用技巧</a:t>
            </a:r>
            <a:r>
              <a:rPr lang="en-US" altLang="zh-CN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 1</a:t>
            </a:r>
            <a:endParaRPr lang="zh-CN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/>
              <a:cs typeface="Segoe UI Light"/>
            </a:endParaRPr>
          </a:p>
        </p:txBody>
      </p:sp>
      <p:sp>
        <p:nvSpPr>
          <p:cNvPr id="5" name="矩形 4"/>
          <p:cNvSpPr/>
          <p:nvPr userDrawn="1"/>
        </p:nvSpPr>
        <p:spPr>
          <a:xfrm>
            <a:off x="440603" y="182445"/>
            <a:ext cx="7777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kumimoji="1" lang="en-US" altLang="zh-CN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 charset="0"/>
                <a:cs typeface="Segoe UI Light"/>
              </a:rPr>
              <a:t>OfficePLUS</a:t>
            </a:r>
            <a:endParaRPr lang="zh-CN" altLang="en-US" sz="10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 charset="0"/>
              <a:cs typeface="Segoe UI Ligh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67B43CCB-1998-4484-B269-9ACB654ACB71}"/>
              </a:ext>
            </a:extLst>
          </p:cNvPr>
          <p:cNvSpPr txBox="1"/>
          <p:nvPr userDrawn="1"/>
        </p:nvSpPr>
        <p:spPr>
          <a:xfrm>
            <a:off x="431800" y="1174234"/>
            <a:ext cx="34676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键调整模板颜色</a:t>
            </a:r>
            <a:endParaRPr lang="en-US" sz="3200" b="1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CF1532F4-AF97-400D-84E6-F00D2B3D35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800" y="2138895"/>
            <a:ext cx="5295899" cy="384702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CA7E11C8-4335-45B0-A270-313A25ABC6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64300" y="2138895"/>
            <a:ext cx="5295900" cy="3847022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45615889-3ACE-4C91-970F-789D759EAC1E}"/>
              </a:ext>
            </a:extLst>
          </p:cNvPr>
          <p:cNvSpPr txBox="1"/>
          <p:nvPr userDrawn="1"/>
        </p:nvSpPr>
        <p:spPr>
          <a:xfrm>
            <a:off x="333477" y="6061002"/>
            <a:ext cx="31838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“设计”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“变体”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“颜色”；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CD19D40D-978A-4E04-8450-F6DC61B85399}"/>
              </a:ext>
            </a:extLst>
          </p:cNvPr>
          <p:cNvSpPr txBox="1"/>
          <p:nvPr userDrawn="1"/>
        </p:nvSpPr>
        <p:spPr>
          <a:xfrm>
            <a:off x="6360651" y="6061002"/>
            <a:ext cx="45624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你喜欢的颜色搭配，模板一秒调整为你选颜色。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299860AF-0C43-4649-A586-85D19517B6F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005928" y="2609333"/>
            <a:ext cx="819667" cy="8196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A6130A4D-8EC7-4AC1-B434-55DC6910286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787853" y="4257158"/>
            <a:ext cx="819667" cy="8196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15470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模板使用技巧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554DB237-C74A-4BA8-A097-6A053DD3C747}"/>
              </a:ext>
            </a:extLst>
          </p:cNvPr>
          <p:cNvSpPr/>
          <p:nvPr userDrawn="1"/>
        </p:nvSpPr>
        <p:spPr>
          <a:xfrm>
            <a:off x="440603" y="759873"/>
            <a:ext cx="17508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lang="zh-CN" altLang="en-US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模板使用技巧</a:t>
            </a:r>
            <a:r>
              <a:rPr lang="en-US" altLang="zh-CN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 2</a:t>
            </a:r>
            <a:endParaRPr lang="zh-CN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/>
              <a:cs typeface="Segoe UI Light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4172DAD1-F67C-4AB8-ACEF-004237CB3D3F}"/>
              </a:ext>
            </a:extLst>
          </p:cNvPr>
          <p:cNvSpPr/>
          <p:nvPr userDrawn="1"/>
        </p:nvSpPr>
        <p:spPr>
          <a:xfrm>
            <a:off x="440603" y="182445"/>
            <a:ext cx="7777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kumimoji="1" lang="en-US" altLang="zh-CN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 charset="0"/>
                <a:cs typeface="Segoe UI Light"/>
              </a:rPr>
              <a:t>OfficePLUS</a:t>
            </a:r>
            <a:endParaRPr lang="zh-CN" altLang="en-US" sz="10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 charset="0"/>
              <a:cs typeface="Segoe UI Light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F300B558-79C0-475E-84A0-11700A36CA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800" y="2138895"/>
            <a:ext cx="5295899" cy="384702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ADFDE997-A67B-4FD0-B6AC-78D1EFE6348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64301" y="2138895"/>
            <a:ext cx="5295900" cy="3847022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3E1E676E-E869-48CE-BFB9-1C7FC981B376}"/>
              </a:ext>
            </a:extLst>
          </p:cNvPr>
          <p:cNvSpPr txBox="1"/>
          <p:nvPr userDrawn="1"/>
        </p:nvSpPr>
        <p:spPr>
          <a:xfrm>
            <a:off x="431800" y="1174234"/>
            <a:ext cx="34676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随时添加模板样式</a:t>
            </a:r>
            <a:endParaRPr lang="en-US" sz="3200" b="1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7768A42A-9DCD-4784-A3EF-F1D80ADC183F}"/>
              </a:ext>
            </a:extLst>
          </p:cNvPr>
          <p:cNvSpPr txBox="1"/>
          <p:nvPr userDrawn="1"/>
        </p:nvSpPr>
        <p:spPr>
          <a:xfrm>
            <a:off x="333477" y="6061002"/>
            <a:ext cx="30107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“开始”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“新建幻灯片”；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BF8689A3-CABF-445F-829F-6396154A55D1}"/>
              </a:ext>
            </a:extLst>
          </p:cNvPr>
          <p:cNvSpPr txBox="1"/>
          <p:nvPr userDrawn="1"/>
        </p:nvSpPr>
        <p:spPr>
          <a:xfrm>
            <a:off x="6360651" y="6061002"/>
            <a:ext cx="52565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你需要的页面，如封面页，目录页，副标题页，内容页等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…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D7C9996A-24BA-4EE9-BA5A-589E1841918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00878" y="2428358"/>
            <a:ext cx="819667" cy="8196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927712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关注微软Office文档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F3BB9638-2D2F-48B1-A8CF-673B237DCC17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rgbClr val="E73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: 圆角 3">
            <a:extLst>
              <a:ext uri="{FF2B5EF4-FFF2-40B4-BE49-F238E27FC236}">
                <a16:creationId xmlns:a16="http://schemas.microsoft.com/office/drawing/2014/main" id="{120C7C91-35F0-46E5-B511-2314CED2655F}"/>
              </a:ext>
            </a:extLst>
          </p:cNvPr>
          <p:cNvSpPr/>
          <p:nvPr userDrawn="1"/>
        </p:nvSpPr>
        <p:spPr>
          <a:xfrm>
            <a:off x="1079465" y="1527629"/>
            <a:ext cx="3802742" cy="3802742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 descr="图片包含 纵横字谜, 文字&#10;&#10;已生成极高可信度的说明">
            <a:extLst>
              <a:ext uri="{FF2B5EF4-FFF2-40B4-BE49-F238E27FC236}">
                <a16:creationId xmlns:a16="http://schemas.microsoft.com/office/drawing/2014/main" id="{25779B21-3BC1-4E47-8650-6B0E785B51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308065" y="1756229"/>
            <a:ext cx="3345542" cy="3345542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343024A3-25F7-4B9A-9876-36F35421F6E6}"/>
              </a:ext>
            </a:extLst>
          </p:cNvPr>
          <p:cNvSpPr txBox="1"/>
          <p:nvPr userDrawn="1"/>
        </p:nvSpPr>
        <p:spPr>
          <a:xfrm>
            <a:off x="5239657" y="1566506"/>
            <a:ext cx="6013185" cy="35492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办公模板更新</a:t>
            </a:r>
            <a:endParaRPr lang="en-US" altLang="zh-CN" sz="3600" b="1" ker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微软</a:t>
            </a:r>
            <a:endParaRPr lang="en-US" altLang="zh-CN" sz="3600" b="1" ker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微信扫码关注</a:t>
            </a:r>
            <a:endParaRPr lang="en-US" altLang="zh-CN" sz="3600" b="1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「 微软</a:t>
            </a:r>
            <a:r>
              <a:rPr lang="en-US" altLang="zh-CN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ffice</a:t>
            </a:r>
            <a:r>
              <a:rPr lang="zh-CN" altLang="en-US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文档 」服务号</a:t>
            </a:r>
            <a:endParaRPr lang="en-US" altLang="zh-CN" sz="3600" b="1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pic>
        <p:nvPicPr>
          <p:cNvPr id="7" name="图片 6">
            <a:hlinkClick r:id="rId3"/>
            <a:extLst>
              <a:ext uri="{FF2B5EF4-FFF2-40B4-BE49-F238E27FC236}">
                <a16:creationId xmlns:a16="http://schemas.microsoft.com/office/drawing/2014/main" id="{5524D02C-49CE-4D3D-8B89-07CEC3966F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657" y="6345797"/>
            <a:ext cx="1712686" cy="226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035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9/29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5951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google/googletest" TargetMode="Externa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zh.cppreference.com/w/cpp" TargetMode="Externa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hyperlink" Target="https://en.cppreference.com/w/" TargetMode="Externa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SWYqp7iY_Tc" TargetMode="Externa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product.hubspot.com/blog/git-and-github-tutorial-for-beginners" TargetMode="Externa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hyperlink" Target="https://github.com/ganler/SPTraining-VisionGroup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facebook/folly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hyperlink" Target="http://assets.hkoi.org/training2017/cppstl.pdf" TargetMode="Externa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www.howtogeek.com/117435/htg-explains-the-linux-directory-structure-explained/" TargetMode="Externa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SfGuIVzE_Os&amp;list=PLlrATfBNZ98dudnM48yfGUldqGD0S4FFb&amp;index=5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3268794" y="3829854"/>
            <a:ext cx="5654410" cy="1257932"/>
          </a:xfrm>
        </p:spPr>
        <p:txBody>
          <a:bodyPr>
            <a:normAutofit/>
          </a:bodyPr>
          <a:lstStyle/>
          <a:p>
            <a:r>
              <a:rPr lang="en-US" altLang="zh-CN" b="1" dirty="0">
                <a:latin typeface="Constantia" panose="02030602050306030303" pitchFamily="18" charset="0"/>
              </a:rPr>
              <a:t>First Training</a:t>
            </a:r>
          </a:p>
          <a:p>
            <a:r>
              <a:rPr lang="en-US" altLang="zh-CN" sz="1600" dirty="0">
                <a:latin typeface="Constantia" panose="02030602050306030303" pitchFamily="18" charset="0"/>
              </a:rPr>
              <a:t>Linux Shell, </a:t>
            </a:r>
            <a:r>
              <a:rPr lang="en-US" altLang="zh-CN" sz="1600" dirty="0" err="1">
                <a:latin typeface="Constantia" panose="02030602050306030303" pitchFamily="18" charset="0"/>
              </a:rPr>
              <a:t>CMake</a:t>
            </a:r>
            <a:r>
              <a:rPr lang="en-US" altLang="zh-CN" sz="1600" dirty="0">
                <a:latin typeface="Constantia" panose="02030602050306030303" pitchFamily="18" charset="0"/>
              </a:rPr>
              <a:t>, STL and git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i="1" dirty="0" err="1"/>
              <a:t>SuperPower</a:t>
            </a:r>
            <a:br>
              <a:rPr lang="en-US" altLang="zh-CN" i="1" dirty="0"/>
            </a:br>
            <a:r>
              <a:rPr lang="en-US" altLang="zh-CN" i="1" dirty="0"/>
              <a:t> </a:t>
            </a:r>
            <a:r>
              <a:rPr lang="en-US" altLang="zh-CN" sz="7300" i="1" dirty="0">
                <a:solidFill>
                  <a:schemeClr val="accent3">
                    <a:lumMod val="75000"/>
                  </a:schemeClr>
                </a:solidFill>
              </a:rPr>
              <a:t>Vision Group</a:t>
            </a:r>
            <a:br>
              <a:rPr lang="en-US" altLang="zh-CN" i="1" dirty="0"/>
            </a:br>
            <a:r>
              <a:rPr lang="en-US" altLang="zh-CN" i="1" dirty="0"/>
              <a:t>Team Training</a:t>
            </a:r>
            <a:endParaRPr lang="zh-CN" altLang="en-US" i="1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3268795" y="5367630"/>
            <a:ext cx="5654410" cy="296271"/>
          </a:xfrm>
        </p:spPr>
        <p:txBody>
          <a:bodyPr/>
          <a:lstStyle/>
          <a:p>
            <a:r>
              <a:rPr lang="en-US" altLang="zh-CN" b="1" dirty="0">
                <a:latin typeface="Consolas" panose="020B0609020204030204" pitchFamily="49" charset="0"/>
              </a:rPr>
              <a:t>Jiawei Liu =&gt; </a:t>
            </a:r>
            <a:r>
              <a:rPr lang="en-US" altLang="zh-CN" u="sng" dirty="0">
                <a:solidFill>
                  <a:schemeClr val="accent3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jaway.liu@gmail.com</a:t>
            </a:r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6599F528-7348-4F9C-9FC9-A69C4B5650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68794" y="5684800"/>
            <a:ext cx="5654410" cy="296271"/>
          </a:xfrm>
        </p:spPr>
        <p:txBody>
          <a:bodyPr/>
          <a:lstStyle/>
          <a:p>
            <a:r>
              <a:rPr lang="en-US" altLang="zh-CN" dirty="0"/>
              <a:t>2019/9/29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A572186-6B8E-4424-820D-91D88ECB57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 </a:t>
            </a:r>
            <a:r>
              <a:rPr lang="en-US" altLang="zh-CN" dirty="0" err="1"/>
              <a:t>CMak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981D7EA-D4EA-41BE-9951-CE046C8DB1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739A6CD-FF01-41F3-9B2C-F18ED9FA53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91205" y="4145626"/>
            <a:ext cx="5426076" cy="2546081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75F46C09-8B5C-42E4-A4A1-32B988784D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8786" y="1104313"/>
            <a:ext cx="8365568" cy="2965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0163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31E0916-ABAD-4792-8F44-20D40098A6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re feature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E0BC526-032C-4AA7-B8C6-2A64C24A1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ED61A6E9-BD2D-4EE3-A488-105E735CD3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153391"/>
            <a:ext cx="6857031" cy="5351318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5F4F7C54-05FE-46D2-9F3B-9B5F0FAEE0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8436" y="2279650"/>
            <a:ext cx="6362700" cy="22987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656666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F104364-ED3C-4EFF-A903-C385FB2F28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 also use </a:t>
            </a:r>
            <a:r>
              <a:rPr lang="en-US" altLang="zh-CN" dirty="0" err="1"/>
              <a:t>CMake</a:t>
            </a:r>
            <a:r>
              <a:rPr lang="en-US" altLang="zh-CN" dirty="0"/>
              <a:t> to build LIBRARIES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B295531-96FC-4128-8004-CBEE05F847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CCC95D7-82F6-4E92-9D35-7C2AED4FC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5609903-EC10-41CC-87F7-E7F60367CEFE}"/>
              </a:ext>
            </a:extLst>
          </p:cNvPr>
          <p:cNvSpPr txBox="1"/>
          <p:nvPr/>
        </p:nvSpPr>
        <p:spPr>
          <a:xfrm>
            <a:off x="2184625" y="2431471"/>
            <a:ext cx="761906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dirty="0"/>
              <a:t>Let’s try to build GTEST:</a:t>
            </a:r>
          </a:p>
          <a:p>
            <a:endParaRPr lang="en-US" altLang="zh-CN" sz="3200" dirty="0"/>
          </a:p>
          <a:p>
            <a:r>
              <a:rPr lang="en-US" altLang="zh-CN" sz="3200" dirty="0">
                <a:hlinkClick r:id="rId2"/>
              </a:rPr>
              <a:t>https://github.com/google/googletest</a:t>
            </a:r>
            <a:endParaRPr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27482318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TL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43251" y="27284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CAD3BF3-B437-49B8-8FEF-BBCA13047E0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365199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ED3A4C8-5636-4EFB-A5A4-D56C30B722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ee what’s there and always ref.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62B6C52-7372-4015-AD8A-387D9032C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DF07CA86-9E69-434D-992D-A2B6500F1F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181478"/>
            <a:ext cx="11138305" cy="4766640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780749E1-9A8C-4540-87C9-21CC8099D7CD}"/>
              </a:ext>
            </a:extLst>
          </p:cNvPr>
          <p:cNvSpPr/>
          <p:nvPr/>
        </p:nvSpPr>
        <p:spPr>
          <a:xfrm>
            <a:off x="669924" y="6240463"/>
            <a:ext cx="36984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hlinkClick r:id="rId3"/>
              </a:rPr>
              <a:t>https://zh.cppreference.com/w/cpp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008513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6B480C9-599A-4AA6-A1E6-4727783279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Big Idea When Programming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4030C87-795A-496C-9C5B-823D85C74E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BC34D11-F94F-4E8D-8445-E35A34821B87}"/>
              </a:ext>
            </a:extLst>
          </p:cNvPr>
          <p:cNvSpPr txBox="1"/>
          <p:nvPr/>
        </p:nvSpPr>
        <p:spPr>
          <a:xfrm>
            <a:off x="1005840" y="2082338"/>
            <a:ext cx="52758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For green hands using Python =&gt; </a:t>
            </a:r>
            <a:r>
              <a:rPr lang="en-US" altLang="zh-CN" b="1" dirty="0">
                <a:solidFill>
                  <a:srgbClr val="00B050"/>
                </a:solidFill>
              </a:rPr>
              <a:t>Running is OK</a:t>
            </a:r>
            <a:endParaRPr lang="zh-CN" altLang="en-US" b="1" dirty="0">
              <a:solidFill>
                <a:srgbClr val="00B050"/>
              </a:solidFill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1A8F3573-0EE3-435A-9096-917407E25BC1}"/>
              </a:ext>
            </a:extLst>
          </p:cNvPr>
          <p:cNvSpPr txBox="1"/>
          <p:nvPr/>
        </p:nvSpPr>
        <p:spPr>
          <a:xfrm>
            <a:off x="1005839" y="2866506"/>
            <a:ext cx="68659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For grandpa who has been using C++ for 40 years =&gt; </a:t>
            </a:r>
            <a:r>
              <a:rPr lang="en-US" altLang="zh-CN" b="1" dirty="0">
                <a:solidFill>
                  <a:srgbClr val="FF0000"/>
                </a:solidFill>
              </a:rPr>
              <a:t>I don’t C++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A052DA4E-BBF0-419F-A839-A7BD2239C9AA}"/>
              </a:ext>
            </a:extLst>
          </p:cNvPr>
          <p:cNvSpPr txBox="1"/>
          <p:nvPr/>
        </p:nvSpPr>
        <p:spPr>
          <a:xfrm>
            <a:off x="1005839" y="3366654"/>
            <a:ext cx="1060704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/>
              <a:t>Compile error</a:t>
            </a:r>
          </a:p>
          <a:p>
            <a:r>
              <a:rPr lang="en-US" altLang="zh-CN" b="1" dirty="0"/>
              <a:t>Linking error</a:t>
            </a:r>
          </a:p>
          <a:p>
            <a:r>
              <a:rPr lang="en-US" altLang="zh-CN" b="1" dirty="0"/>
              <a:t>Runtime error</a:t>
            </a:r>
            <a:r>
              <a:rPr lang="en-US" altLang="zh-CN" dirty="0"/>
              <a:t>: stack overflow, segmentation fault or worse: </a:t>
            </a:r>
          </a:p>
          <a:p>
            <a:pPr algn="ctr"/>
            <a:r>
              <a:rPr lang="en-US" altLang="zh-CN" dirty="0">
                <a:solidFill>
                  <a:srgbClr val="FF0000"/>
                </a:solidFill>
              </a:rPr>
              <a:t>PROCESS FINISHED WITH EXIT CODE XXX(which is not 0)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183745AF-DF87-49CE-95DC-09ADA6EC3D6F}"/>
              </a:ext>
            </a:extLst>
          </p:cNvPr>
          <p:cNvSpPr txBox="1"/>
          <p:nvPr/>
        </p:nvSpPr>
        <p:spPr>
          <a:xfrm>
            <a:off x="1005839" y="4773198"/>
            <a:ext cx="5647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If you don’t care, one day it will pay you a </a:t>
            </a:r>
            <a:r>
              <a:rPr lang="en-US" altLang="zh-CN" b="1" dirty="0"/>
              <a:t>disaster</a:t>
            </a:r>
            <a:r>
              <a:rPr lang="en-US" altLang="zh-CN" dirty="0"/>
              <a:t> …</a:t>
            </a: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9628D0CE-156F-433C-A6D2-344762403EC4}"/>
              </a:ext>
            </a:extLst>
          </p:cNvPr>
          <p:cNvSpPr/>
          <p:nvPr/>
        </p:nvSpPr>
        <p:spPr>
          <a:xfrm>
            <a:off x="911630" y="1849691"/>
            <a:ext cx="10087494" cy="406492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p"/>
            </a:pPr>
            <a:r>
              <a:rPr lang="en-US" altLang="zh-CN" dirty="0">
                <a:latin typeface="Century" panose="02040604050505020304" pitchFamily="18" charset="0"/>
              </a:rPr>
              <a:t>When u are not sure about </a:t>
            </a:r>
            <a:r>
              <a:rPr lang="en-US" altLang="zh-CN" dirty="0" err="1">
                <a:latin typeface="Century" panose="02040604050505020304" pitchFamily="18" charset="0"/>
              </a:rPr>
              <a:t>sth</a:t>
            </a:r>
            <a:r>
              <a:rPr lang="en-US" altLang="zh-CN" dirty="0">
                <a:latin typeface="Century" panose="02040604050505020304" pitchFamily="18" charset="0"/>
              </a:rPr>
              <a:t>., </a:t>
            </a:r>
            <a:r>
              <a:rPr lang="en-US" altLang="zh-CN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" panose="02040604050505020304" pitchFamily="18" charset="0"/>
              </a:rPr>
              <a:t>SEEK FOR REFERENCE</a:t>
            </a:r>
            <a:r>
              <a:rPr lang="en-US" altLang="zh-CN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" panose="02040604050505020304" pitchFamily="18" charset="0"/>
              </a:rPr>
              <a:t>.(</a:t>
            </a:r>
            <a:r>
              <a:rPr lang="en-US" altLang="zh-CN" dirty="0">
                <a:latin typeface="Century" panose="02040604050505020304" pitchFamily="18" charset="0"/>
              </a:rPr>
              <a:t>people, network …), just do not try to execute your code to identify your assumption.</a:t>
            </a:r>
          </a:p>
          <a:p>
            <a:pPr marL="285750" indent="-285750">
              <a:buFont typeface="Wingdings" panose="05000000000000000000" pitchFamily="2" charset="2"/>
              <a:buChar char="p"/>
            </a:pPr>
            <a:r>
              <a:rPr lang="en-US" altLang="zh-CN" dirty="0">
                <a:latin typeface="Century" panose="02040604050505020304" pitchFamily="18" charset="0"/>
              </a:rPr>
              <a:t>Make enough tests if possible(run debug mode with </a:t>
            </a:r>
            <a:r>
              <a:rPr lang="en-US" altLang="zh-CN" b="1" dirty="0">
                <a:latin typeface="Cascadia Code" panose="020B0509020204030204" pitchFamily="49" charset="0"/>
              </a:rPr>
              <a:t>assert</a:t>
            </a:r>
            <a:r>
              <a:rPr lang="en-US" altLang="zh-CN" dirty="0">
                <a:latin typeface="Century" panose="02040604050505020304" pitchFamily="18" charset="0"/>
              </a:rPr>
              <a:t>).</a:t>
            </a:r>
            <a:endParaRPr lang="zh-CN" altLang="en-US" dirty="0">
              <a:latin typeface="Century" panose="020406040505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5940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A531A0D-25FA-438F-A6A3-146D509357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TL: Container &amp; Algorithm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36123EE-8DEF-4AB1-9F56-C033386951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DFA0D412-F044-4AFD-A836-4A55299A86EA}"/>
              </a:ext>
            </a:extLst>
          </p:cNvPr>
          <p:cNvSpPr/>
          <p:nvPr/>
        </p:nvSpPr>
        <p:spPr>
          <a:xfrm>
            <a:off x="635924" y="1487978"/>
            <a:ext cx="2082338" cy="68164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latin typeface="Consolas" panose="020B0609020204030204" pitchFamily="49" charset="0"/>
              </a:rPr>
              <a:t>std::vector&lt;T&gt;</a:t>
            </a:r>
            <a:endParaRPr lang="zh-CN" altLang="en-US" dirty="0">
              <a:latin typeface="Consolas" panose="020B0609020204030204" pitchFamily="49" charset="0"/>
            </a:endParaRP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053C7B0A-32EB-479F-985B-B54B42B0DAD0}"/>
              </a:ext>
            </a:extLst>
          </p:cNvPr>
          <p:cNvSpPr/>
          <p:nvPr/>
        </p:nvSpPr>
        <p:spPr>
          <a:xfrm>
            <a:off x="635924" y="3990110"/>
            <a:ext cx="2082337" cy="68164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latin typeface="Consolas" panose="020B0609020204030204" pitchFamily="49" charset="0"/>
              </a:rPr>
              <a:t>std::deque&lt;T&gt;</a:t>
            </a:r>
            <a:endParaRPr lang="zh-CN" altLang="en-US" dirty="0">
              <a:latin typeface="Consolas" panose="020B0609020204030204" pitchFamily="49" charset="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0F0CFC5D-9AE4-434A-BB1E-51AE859BF5A5}"/>
              </a:ext>
            </a:extLst>
          </p:cNvPr>
          <p:cNvSpPr/>
          <p:nvPr/>
        </p:nvSpPr>
        <p:spPr>
          <a:xfrm>
            <a:off x="3653444" y="2560320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AE16908-2E8B-4938-AE6C-DE4B6C9A5C2C}"/>
              </a:ext>
            </a:extLst>
          </p:cNvPr>
          <p:cNvSpPr/>
          <p:nvPr/>
        </p:nvSpPr>
        <p:spPr>
          <a:xfrm>
            <a:off x="4235335" y="2560319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64DDAA5B-23B0-4ECD-9E84-4CE9E61C96E9}"/>
              </a:ext>
            </a:extLst>
          </p:cNvPr>
          <p:cNvSpPr/>
          <p:nvPr/>
        </p:nvSpPr>
        <p:spPr>
          <a:xfrm>
            <a:off x="4819302" y="2560319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49F0D854-88B1-47D4-8D94-488E62F0D5C0}"/>
              </a:ext>
            </a:extLst>
          </p:cNvPr>
          <p:cNvSpPr/>
          <p:nvPr/>
        </p:nvSpPr>
        <p:spPr>
          <a:xfrm>
            <a:off x="5399117" y="2560319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8304B7FF-4252-44F2-BF9B-EE2EE2B265D8}"/>
              </a:ext>
            </a:extLst>
          </p:cNvPr>
          <p:cNvSpPr/>
          <p:nvPr/>
        </p:nvSpPr>
        <p:spPr>
          <a:xfrm>
            <a:off x="5981008" y="2560319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D42EF63E-489C-4A61-A8BF-0C67052B1AC2}"/>
              </a:ext>
            </a:extLst>
          </p:cNvPr>
          <p:cNvSpPr/>
          <p:nvPr/>
        </p:nvSpPr>
        <p:spPr>
          <a:xfrm>
            <a:off x="6562899" y="2560318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07D16223-197A-4856-962D-B1E45A3A5E51}"/>
              </a:ext>
            </a:extLst>
          </p:cNvPr>
          <p:cNvSpPr/>
          <p:nvPr/>
        </p:nvSpPr>
        <p:spPr>
          <a:xfrm>
            <a:off x="7146866" y="2560318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840E9368-2ED2-49EB-9DAB-DB20E40B9265}"/>
              </a:ext>
            </a:extLst>
          </p:cNvPr>
          <p:cNvSpPr/>
          <p:nvPr/>
        </p:nvSpPr>
        <p:spPr>
          <a:xfrm>
            <a:off x="7726681" y="2560318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AE40593-A603-4E3F-B31A-6A0DC8E521DB}"/>
              </a:ext>
            </a:extLst>
          </p:cNvPr>
          <p:cNvSpPr/>
          <p:nvPr/>
        </p:nvSpPr>
        <p:spPr>
          <a:xfrm>
            <a:off x="831274" y="5960227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CC89F605-F2D1-4D75-B7AD-55E07D7646E4}"/>
              </a:ext>
            </a:extLst>
          </p:cNvPr>
          <p:cNvSpPr/>
          <p:nvPr/>
        </p:nvSpPr>
        <p:spPr>
          <a:xfrm>
            <a:off x="1791394" y="5530734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926384A1-1889-480C-BFBC-65DCBB2FC039}"/>
              </a:ext>
            </a:extLst>
          </p:cNvPr>
          <p:cNvSpPr/>
          <p:nvPr/>
        </p:nvSpPr>
        <p:spPr>
          <a:xfrm>
            <a:off x="2375361" y="5530734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C8B5AA79-0EED-4651-A6B8-0414F12450DD}"/>
              </a:ext>
            </a:extLst>
          </p:cNvPr>
          <p:cNvSpPr/>
          <p:nvPr/>
        </p:nvSpPr>
        <p:spPr>
          <a:xfrm>
            <a:off x="2955176" y="5530734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9A07E39B-C06C-438F-853E-98159EDA6BBF}"/>
              </a:ext>
            </a:extLst>
          </p:cNvPr>
          <p:cNvSpPr/>
          <p:nvPr/>
        </p:nvSpPr>
        <p:spPr>
          <a:xfrm>
            <a:off x="5864631" y="5572298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E52AD8B6-D6FE-4400-91A6-A5C75F7723E8}"/>
              </a:ext>
            </a:extLst>
          </p:cNvPr>
          <p:cNvSpPr/>
          <p:nvPr/>
        </p:nvSpPr>
        <p:spPr>
          <a:xfrm>
            <a:off x="6446522" y="5572297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2387F0DE-FCA6-481D-837C-4129EE90964B}"/>
              </a:ext>
            </a:extLst>
          </p:cNvPr>
          <p:cNvSpPr/>
          <p:nvPr/>
        </p:nvSpPr>
        <p:spPr>
          <a:xfrm>
            <a:off x="7030489" y="5572297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F6C61CF5-A3B5-447D-98FA-BF1AB471E6BE}"/>
              </a:ext>
            </a:extLst>
          </p:cNvPr>
          <p:cNvSpPr/>
          <p:nvPr/>
        </p:nvSpPr>
        <p:spPr>
          <a:xfrm>
            <a:off x="7610304" y="5572297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F63B4B08-FB11-43C8-BB7A-411F612D9259}"/>
              </a:ext>
            </a:extLst>
          </p:cNvPr>
          <p:cNvSpPr/>
          <p:nvPr/>
        </p:nvSpPr>
        <p:spPr>
          <a:xfrm>
            <a:off x="8192195" y="4458392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AB456D2A-4E15-44AE-9913-0FB7ED4D22E7}"/>
              </a:ext>
            </a:extLst>
          </p:cNvPr>
          <p:cNvSpPr/>
          <p:nvPr/>
        </p:nvSpPr>
        <p:spPr>
          <a:xfrm>
            <a:off x="8774086" y="4458391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4E8161AB-AD02-4E24-BDD0-7BE390D59306}"/>
              </a:ext>
            </a:extLst>
          </p:cNvPr>
          <p:cNvSpPr/>
          <p:nvPr/>
        </p:nvSpPr>
        <p:spPr>
          <a:xfrm>
            <a:off x="9358053" y="4458391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1A7925E5-6CA0-4434-992B-FCB2E59F2093}"/>
              </a:ext>
            </a:extLst>
          </p:cNvPr>
          <p:cNvSpPr/>
          <p:nvPr/>
        </p:nvSpPr>
        <p:spPr>
          <a:xfrm>
            <a:off x="3537067" y="4491643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1A38FBC8-D64C-4063-BA22-B254BCA351D7}"/>
              </a:ext>
            </a:extLst>
          </p:cNvPr>
          <p:cNvSpPr/>
          <p:nvPr/>
        </p:nvSpPr>
        <p:spPr>
          <a:xfrm>
            <a:off x="4118958" y="4491642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92CC57BE-E8D5-451E-8EFB-445CE168586D}"/>
              </a:ext>
            </a:extLst>
          </p:cNvPr>
          <p:cNvSpPr/>
          <p:nvPr/>
        </p:nvSpPr>
        <p:spPr>
          <a:xfrm>
            <a:off x="4702925" y="4491642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2862CD2D-14C1-49AF-9FF7-98CF6A838F6A}"/>
              </a:ext>
            </a:extLst>
          </p:cNvPr>
          <p:cNvSpPr/>
          <p:nvPr/>
        </p:nvSpPr>
        <p:spPr>
          <a:xfrm>
            <a:off x="5282740" y="4491642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cxnSp>
        <p:nvCxnSpPr>
          <p:cNvPr id="32" name="连接符: 曲线 31">
            <a:extLst>
              <a:ext uri="{FF2B5EF4-FFF2-40B4-BE49-F238E27FC236}">
                <a16:creationId xmlns:a16="http://schemas.microsoft.com/office/drawing/2014/main" id="{D12B8F9E-B72A-4EAE-B184-750EDAAA2F69}"/>
              </a:ext>
            </a:extLst>
          </p:cNvPr>
          <p:cNvCxnSpPr>
            <a:stCxn id="18" idx="3"/>
            <a:endCxn id="27" idx="1"/>
          </p:cNvCxnSpPr>
          <p:nvPr/>
        </p:nvCxnSpPr>
        <p:spPr>
          <a:xfrm flipV="1">
            <a:off x="3537067" y="4757651"/>
            <a:ext cx="12700" cy="1039091"/>
          </a:xfrm>
          <a:prstGeom prst="curvedConnector5">
            <a:avLst>
              <a:gd name="adj1" fmla="val -1800000"/>
              <a:gd name="adj2" fmla="val 50000"/>
              <a:gd name="adj3" fmla="val 1900000"/>
            </a:avLst>
          </a:prstGeom>
          <a:ln>
            <a:solidFill>
              <a:srgbClr val="92D050"/>
            </a:solidFill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3" name="连接符: 曲线 32">
            <a:extLst>
              <a:ext uri="{FF2B5EF4-FFF2-40B4-BE49-F238E27FC236}">
                <a16:creationId xmlns:a16="http://schemas.microsoft.com/office/drawing/2014/main" id="{60C71301-D159-4563-B982-52C8F8418254}"/>
              </a:ext>
            </a:extLst>
          </p:cNvPr>
          <p:cNvCxnSpPr>
            <a:cxnSpLocks/>
            <a:stCxn id="30" idx="3"/>
            <a:endCxn id="19" idx="1"/>
          </p:cNvCxnSpPr>
          <p:nvPr/>
        </p:nvCxnSpPr>
        <p:spPr>
          <a:xfrm>
            <a:off x="5864631" y="4757650"/>
            <a:ext cx="12700" cy="1080656"/>
          </a:xfrm>
          <a:prstGeom prst="curvedConnector5">
            <a:avLst>
              <a:gd name="adj1" fmla="val -1800000"/>
              <a:gd name="adj2" fmla="val 50000"/>
              <a:gd name="adj3" fmla="val 1900000"/>
            </a:avLst>
          </a:prstGeom>
          <a:ln>
            <a:solidFill>
              <a:srgbClr val="92D050"/>
            </a:solidFill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6" name="连接符: 曲线 35">
            <a:extLst>
              <a:ext uri="{FF2B5EF4-FFF2-40B4-BE49-F238E27FC236}">
                <a16:creationId xmlns:a16="http://schemas.microsoft.com/office/drawing/2014/main" id="{EB9243A2-7C9E-4948-B93E-7DFC5467FDA9}"/>
              </a:ext>
            </a:extLst>
          </p:cNvPr>
          <p:cNvCxnSpPr>
            <a:cxnSpLocks/>
            <a:stCxn id="22" idx="3"/>
            <a:endCxn id="23" idx="1"/>
          </p:cNvCxnSpPr>
          <p:nvPr/>
        </p:nvCxnSpPr>
        <p:spPr>
          <a:xfrm flipV="1">
            <a:off x="8192195" y="4724400"/>
            <a:ext cx="12700" cy="1113905"/>
          </a:xfrm>
          <a:prstGeom prst="curvedConnector5">
            <a:avLst>
              <a:gd name="adj1" fmla="val -1800000"/>
              <a:gd name="adj2" fmla="val 50000"/>
              <a:gd name="adj3" fmla="val 1900000"/>
            </a:avLst>
          </a:prstGeom>
          <a:ln>
            <a:solidFill>
              <a:srgbClr val="92D050"/>
            </a:solidFill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0" name="箭头: 左 39">
            <a:extLst>
              <a:ext uri="{FF2B5EF4-FFF2-40B4-BE49-F238E27FC236}">
                <a16:creationId xmlns:a16="http://schemas.microsoft.com/office/drawing/2014/main" id="{7C98EF7B-2CAA-4853-8BD7-A85A711A5D3D}"/>
              </a:ext>
            </a:extLst>
          </p:cNvPr>
          <p:cNvSpPr/>
          <p:nvPr/>
        </p:nvSpPr>
        <p:spPr>
          <a:xfrm rot="8000688">
            <a:off x="1246909" y="5764876"/>
            <a:ext cx="490451" cy="195351"/>
          </a:xfrm>
          <a:prstGeom prst="lef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B4F9B4ED-A019-4DAA-95AE-3D5957A83E8D}"/>
              </a:ext>
            </a:extLst>
          </p:cNvPr>
          <p:cNvSpPr/>
          <p:nvPr/>
        </p:nvSpPr>
        <p:spPr>
          <a:xfrm>
            <a:off x="10224657" y="4990406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43" name="箭头: 左 42">
            <a:extLst>
              <a:ext uri="{FF2B5EF4-FFF2-40B4-BE49-F238E27FC236}">
                <a16:creationId xmlns:a16="http://schemas.microsoft.com/office/drawing/2014/main" id="{FD280D79-F1EF-41DC-86DC-237FD43E1195}"/>
              </a:ext>
            </a:extLst>
          </p:cNvPr>
          <p:cNvSpPr/>
          <p:nvPr/>
        </p:nvSpPr>
        <p:spPr>
          <a:xfrm rot="2063137">
            <a:off x="9837076" y="4845823"/>
            <a:ext cx="490451" cy="195351"/>
          </a:xfrm>
          <a:prstGeom prst="lef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C1F4A5B4-B155-438D-AF0F-0891C781DABE}"/>
              </a:ext>
            </a:extLst>
          </p:cNvPr>
          <p:cNvSpPr/>
          <p:nvPr/>
        </p:nvSpPr>
        <p:spPr>
          <a:xfrm>
            <a:off x="9472354" y="2520221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45" name="箭头: 左 44">
            <a:extLst>
              <a:ext uri="{FF2B5EF4-FFF2-40B4-BE49-F238E27FC236}">
                <a16:creationId xmlns:a16="http://schemas.microsoft.com/office/drawing/2014/main" id="{016D0163-5B7D-4901-8FEA-407E99C82111}"/>
              </a:ext>
            </a:extLst>
          </p:cNvPr>
          <p:cNvSpPr/>
          <p:nvPr/>
        </p:nvSpPr>
        <p:spPr>
          <a:xfrm>
            <a:off x="8694075" y="2716526"/>
            <a:ext cx="490451" cy="195351"/>
          </a:xfrm>
          <a:prstGeom prst="lef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7" name="直接连接符 46">
            <a:extLst>
              <a:ext uri="{FF2B5EF4-FFF2-40B4-BE49-F238E27FC236}">
                <a16:creationId xmlns:a16="http://schemas.microsoft.com/office/drawing/2014/main" id="{816B02C9-6908-40FA-9E0A-550F5E9FD936}"/>
              </a:ext>
            </a:extLst>
          </p:cNvPr>
          <p:cNvCxnSpPr/>
          <p:nvPr/>
        </p:nvCxnSpPr>
        <p:spPr>
          <a:xfrm>
            <a:off x="145473" y="3499658"/>
            <a:ext cx="11687694" cy="0"/>
          </a:xfrm>
          <a:prstGeom prst="line">
            <a:avLst/>
          </a:prstGeom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" name="文本框 2">
            <a:extLst>
              <a:ext uri="{FF2B5EF4-FFF2-40B4-BE49-F238E27FC236}">
                <a16:creationId xmlns:a16="http://schemas.microsoft.com/office/drawing/2014/main" id="{5D200F58-25DE-4125-A449-F22E6DFD9CEA}"/>
              </a:ext>
            </a:extLst>
          </p:cNvPr>
          <p:cNvSpPr txBox="1"/>
          <p:nvPr/>
        </p:nvSpPr>
        <p:spPr>
          <a:xfrm>
            <a:off x="8307534" y="2052494"/>
            <a:ext cx="13965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err="1">
                <a:solidFill>
                  <a:srgbClr val="7030A0"/>
                </a:solidFill>
                <a:latin typeface="Cascadia Code" panose="020B0509020204030204" pitchFamily="49" charset="0"/>
              </a:rPr>
              <a:t>push_back</a:t>
            </a:r>
            <a:endParaRPr lang="zh-CN" altLang="en-US" b="1" dirty="0">
              <a:solidFill>
                <a:srgbClr val="7030A0"/>
              </a:solidFill>
              <a:latin typeface="Cascadia Code" panose="020B0509020204030204" pitchFamily="49" charset="0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693F6153-65F9-4D50-817F-B8FE9BB23F71}"/>
              </a:ext>
            </a:extLst>
          </p:cNvPr>
          <p:cNvSpPr txBox="1"/>
          <p:nvPr/>
        </p:nvSpPr>
        <p:spPr>
          <a:xfrm>
            <a:off x="999609" y="5131324"/>
            <a:ext cx="1531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err="1">
                <a:solidFill>
                  <a:srgbClr val="7030A0"/>
                </a:solidFill>
                <a:latin typeface="Cascadia Code" panose="020B0509020204030204" pitchFamily="49" charset="0"/>
              </a:rPr>
              <a:t>push_front</a:t>
            </a:r>
            <a:endParaRPr lang="zh-CN" altLang="en-US" b="1" dirty="0">
              <a:solidFill>
                <a:srgbClr val="7030A0"/>
              </a:solidFill>
              <a:latin typeface="Cascadia Code" panose="020B0509020204030204" pitchFamily="49" charset="0"/>
            </a:endParaRP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2BDE03A2-A024-49E5-A475-3785DD2312AE}"/>
              </a:ext>
            </a:extLst>
          </p:cNvPr>
          <p:cNvSpPr txBox="1"/>
          <p:nvPr/>
        </p:nvSpPr>
        <p:spPr>
          <a:xfrm>
            <a:off x="9704070" y="4077387"/>
            <a:ext cx="13965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err="1">
                <a:solidFill>
                  <a:srgbClr val="7030A0"/>
                </a:solidFill>
                <a:latin typeface="Cascadia Code" panose="020B0509020204030204" pitchFamily="49" charset="0"/>
              </a:rPr>
              <a:t>push_back</a:t>
            </a:r>
            <a:endParaRPr lang="zh-CN" altLang="en-US" b="1" dirty="0">
              <a:solidFill>
                <a:srgbClr val="7030A0"/>
              </a:solidFill>
              <a:latin typeface="Cascadia Code" panose="020B05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69997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CA7B651-FBAB-49BA-B992-AC35CA5142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en-US" altLang="zh-CN" dirty="0"/>
              <a:t>Try to reserv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E4A90CC-A407-4800-A908-14E582BC24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21072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5F23FBF-43DF-4F3A-AB4A-655A4925ED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0367" y="2257535"/>
            <a:ext cx="4100542" cy="2709882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E5666A1C-2EAA-4FC8-87F2-583D886DBDC3}"/>
              </a:ext>
            </a:extLst>
          </p:cNvPr>
          <p:cNvSpPr/>
          <p:nvPr/>
        </p:nvSpPr>
        <p:spPr>
          <a:xfrm>
            <a:off x="7473143" y="1795549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B23C8F3E-78C7-4BDC-9C15-49FB525EE94E}"/>
              </a:ext>
            </a:extLst>
          </p:cNvPr>
          <p:cNvSpPr/>
          <p:nvPr/>
        </p:nvSpPr>
        <p:spPr>
          <a:xfrm>
            <a:off x="8055034" y="1795548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82AE630-FEC9-46F6-98D0-3254EA87886B}"/>
              </a:ext>
            </a:extLst>
          </p:cNvPr>
          <p:cNvSpPr/>
          <p:nvPr/>
        </p:nvSpPr>
        <p:spPr>
          <a:xfrm>
            <a:off x="8639001" y="1795548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39989D73-A7F9-43F5-93B7-7B2F2D8C6106}"/>
              </a:ext>
            </a:extLst>
          </p:cNvPr>
          <p:cNvSpPr/>
          <p:nvPr/>
        </p:nvSpPr>
        <p:spPr>
          <a:xfrm>
            <a:off x="9218816" y="1795548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34F5EADD-3BFB-4553-93E0-C68FE043472B}"/>
              </a:ext>
            </a:extLst>
          </p:cNvPr>
          <p:cNvSpPr/>
          <p:nvPr/>
        </p:nvSpPr>
        <p:spPr>
          <a:xfrm>
            <a:off x="9800707" y="1795548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2CDAA042-9D42-428F-8C99-B23400B6271C}"/>
              </a:ext>
            </a:extLst>
          </p:cNvPr>
          <p:cNvSpPr/>
          <p:nvPr/>
        </p:nvSpPr>
        <p:spPr>
          <a:xfrm>
            <a:off x="7486306" y="2509245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A09AE1B6-DFDB-41C1-A446-09B508881FD0}"/>
              </a:ext>
            </a:extLst>
          </p:cNvPr>
          <p:cNvSpPr/>
          <p:nvPr/>
        </p:nvSpPr>
        <p:spPr>
          <a:xfrm>
            <a:off x="8068197" y="2509244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5DA2A182-738D-44BC-8A9B-EBB765EE98C4}"/>
              </a:ext>
            </a:extLst>
          </p:cNvPr>
          <p:cNvSpPr/>
          <p:nvPr/>
        </p:nvSpPr>
        <p:spPr>
          <a:xfrm>
            <a:off x="8652164" y="2509244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151B7973-28FC-419E-A739-C8E8534AAA0D}"/>
              </a:ext>
            </a:extLst>
          </p:cNvPr>
          <p:cNvSpPr/>
          <p:nvPr/>
        </p:nvSpPr>
        <p:spPr>
          <a:xfrm>
            <a:off x="9231979" y="2509244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442C261C-67E6-44CB-A916-CB577DF38499}"/>
              </a:ext>
            </a:extLst>
          </p:cNvPr>
          <p:cNvSpPr/>
          <p:nvPr/>
        </p:nvSpPr>
        <p:spPr>
          <a:xfrm>
            <a:off x="9813870" y="2509244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FCC5E4BC-4724-43D5-8AFD-5620A341E676}"/>
              </a:ext>
            </a:extLst>
          </p:cNvPr>
          <p:cNvSpPr txBox="1"/>
          <p:nvPr/>
        </p:nvSpPr>
        <p:spPr>
          <a:xfrm>
            <a:off x="5544590" y="1857894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value</a:t>
            </a:r>
            <a:endParaRPr lang="zh-CN" altLang="en-US" dirty="0"/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FCA4C6DE-750F-4949-B3C7-E2B9C27E5D80}"/>
              </a:ext>
            </a:extLst>
          </p:cNvPr>
          <p:cNvSpPr txBox="1"/>
          <p:nvPr/>
        </p:nvSpPr>
        <p:spPr>
          <a:xfrm>
            <a:off x="5583876" y="2590585"/>
            <a:ext cx="10182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memory</a:t>
            </a:r>
            <a:endParaRPr lang="zh-CN" altLang="en-US" dirty="0"/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C79A0BE2-19C2-4B9A-AF9E-EC25CCF9707D}"/>
              </a:ext>
            </a:extLst>
          </p:cNvPr>
          <p:cNvSpPr/>
          <p:nvPr/>
        </p:nvSpPr>
        <p:spPr>
          <a:xfrm>
            <a:off x="5436525" y="1471352"/>
            <a:ext cx="5307676" cy="1895302"/>
          </a:xfrm>
          <a:prstGeom prst="roundRect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04B39C6B-9EE8-40CD-848C-024A1D635A68}"/>
              </a:ext>
            </a:extLst>
          </p:cNvPr>
          <p:cNvSpPr/>
          <p:nvPr/>
        </p:nvSpPr>
        <p:spPr>
          <a:xfrm>
            <a:off x="5819124" y="4404546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D6911C4A-96F3-4B3A-A11A-3D2073BC083D}"/>
              </a:ext>
            </a:extLst>
          </p:cNvPr>
          <p:cNvSpPr/>
          <p:nvPr/>
        </p:nvSpPr>
        <p:spPr>
          <a:xfrm>
            <a:off x="6401015" y="4404545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E195E342-0510-4C76-81E0-EF92E9A1886C}"/>
              </a:ext>
            </a:extLst>
          </p:cNvPr>
          <p:cNvSpPr/>
          <p:nvPr/>
        </p:nvSpPr>
        <p:spPr>
          <a:xfrm>
            <a:off x="6984982" y="4404545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B87F5D5A-7DA4-4179-A923-5358F1576435}"/>
              </a:ext>
            </a:extLst>
          </p:cNvPr>
          <p:cNvSpPr/>
          <p:nvPr/>
        </p:nvSpPr>
        <p:spPr>
          <a:xfrm>
            <a:off x="7564797" y="4404545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39A10DAD-F40C-4091-A27B-4F467240FB6D}"/>
              </a:ext>
            </a:extLst>
          </p:cNvPr>
          <p:cNvSpPr/>
          <p:nvPr/>
        </p:nvSpPr>
        <p:spPr>
          <a:xfrm>
            <a:off x="8146688" y="4404545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81026168-4D43-4985-9572-1EAFF57F356F}"/>
              </a:ext>
            </a:extLst>
          </p:cNvPr>
          <p:cNvSpPr/>
          <p:nvPr/>
        </p:nvSpPr>
        <p:spPr>
          <a:xfrm>
            <a:off x="5832287" y="5118242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3CF7183E-89D8-4A4B-B2F2-847E9E2FCD8F}"/>
              </a:ext>
            </a:extLst>
          </p:cNvPr>
          <p:cNvSpPr/>
          <p:nvPr/>
        </p:nvSpPr>
        <p:spPr>
          <a:xfrm>
            <a:off x="6414178" y="5118241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51B99219-1441-4411-B1DE-99C90DD08763}"/>
              </a:ext>
            </a:extLst>
          </p:cNvPr>
          <p:cNvSpPr/>
          <p:nvPr/>
        </p:nvSpPr>
        <p:spPr>
          <a:xfrm>
            <a:off x="6998145" y="5118241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C0430DD4-A468-40D9-A882-F2F3578958E3}"/>
              </a:ext>
            </a:extLst>
          </p:cNvPr>
          <p:cNvSpPr/>
          <p:nvPr/>
        </p:nvSpPr>
        <p:spPr>
          <a:xfrm>
            <a:off x="7577960" y="5118241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17AECF32-F326-4049-A49E-4354CA258F18}"/>
              </a:ext>
            </a:extLst>
          </p:cNvPr>
          <p:cNvSpPr/>
          <p:nvPr/>
        </p:nvSpPr>
        <p:spPr>
          <a:xfrm>
            <a:off x="8159851" y="5118241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7C2D3412-8261-4B20-999F-5414B78BC0FA}"/>
              </a:ext>
            </a:extLst>
          </p:cNvPr>
          <p:cNvSpPr txBox="1"/>
          <p:nvPr/>
        </p:nvSpPr>
        <p:spPr>
          <a:xfrm>
            <a:off x="4614259" y="4465692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value</a:t>
            </a:r>
            <a:endParaRPr lang="zh-CN" altLang="en-US" dirty="0"/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ACA99EC8-AA23-4644-9B90-80F11D3D3EC1}"/>
              </a:ext>
            </a:extLst>
          </p:cNvPr>
          <p:cNvSpPr txBox="1"/>
          <p:nvPr/>
        </p:nvSpPr>
        <p:spPr>
          <a:xfrm>
            <a:off x="4653545" y="5198383"/>
            <a:ext cx="10182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memory</a:t>
            </a:r>
            <a:endParaRPr lang="zh-CN" altLang="en-US" dirty="0"/>
          </a:p>
        </p:txBody>
      </p:sp>
      <p:sp>
        <p:nvSpPr>
          <p:cNvPr id="31" name="矩形: 圆角 30">
            <a:extLst>
              <a:ext uri="{FF2B5EF4-FFF2-40B4-BE49-F238E27FC236}">
                <a16:creationId xmlns:a16="http://schemas.microsoft.com/office/drawing/2014/main" id="{E4C9F127-6465-4423-A0BB-78580F402502}"/>
              </a:ext>
            </a:extLst>
          </p:cNvPr>
          <p:cNvSpPr/>
          <p:nvPr/>
        </p:nvSpPr>
        <p:spPr>
          <a:xfrm>
            <a:off x="4506193" y="4079150"/>
            <a:ext cx="7647013" cy="1895302"/>
          </a:xfrm>
          <a:prstGeom prst="roundRect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444F3AD6-59E0-41D7-BD69-7A741CEFDE55}"/>
              </a:ext>
            </a:extLst>
          </p:cNvPr>
          <p:cNvSpPr/>
          <p:nvPr/>
        </p:nvSpPr>
        <p:spPr>
          <a:xfrm>
            <a:off x="8740575" y="5118242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C4D9AB49-D3C7-4D27-951C-DC2A4992A018}"/>
              </a:ext>
            </a:extLst>
          </p:cNvPr>
          <p:cNvSpPr/>
          <p:nvPr/>
        </p:nvSpPr>
        <p:spPr>
          <a:xfrm>
            <a:off x="9322466" y="5118241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FD2782F1-A371-4775-8E70-0B03C59AE412}"/>
              </a:ext>
            </a:extLst>
          </p:cNvPr>
          <p:cNvSpPr/>
          <p:nvPr/>
        </p:nvSpPr>
        <p:spPr>
          <a:xfrm>
            <a:off x="9906433" y="5118241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6C1BDF4D-D2AE-498D-97D4-D56AF5282409}"/>
              </a:ext>
            </a:extLst>
          </p:cNvPr>
          <p:cNvSpPr/>
          <p:nvPr/>
        </p:nvSpPr>
        <p:spPr>
          <a:xfrm>
            <a:off x="10486248" y="5118241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FE745158-3507-4490-AA9A-90778D5495AE}"/>
              </a:ext>
            </a:extLst>
          </p:cNvPr>
          <p:cNvSpPr/>
          <p:nvPr/>
        </p:nvSpPr>
        <p:spPr>
          <a:xfrm>
            <a:off x="11068139" y="5118241"/>
            <a:ext cx="581891" cy="532015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cxnSp>
        <p:nvCxnSpPr>
          <p:cNvPr id="43" name="直接箭头连接符 42">
            <a:extLst>
              <a:ext uri="{FF2B5EF4-FFF2-40B4-BE49-F238E27FC236}">
                <a16:creationId xmlns:a16="http://schemas.microsoft.com/office/drawing/2014/main" id="{0201B2DE-7C43-49DC-8585-3BEC735C7ED8}"/>
              </a:ext>
            </a:extLst>
          </p:cNvPr>
          <p:cNvCxnSpPr/>
          <p:nvPr/>
        </p:nvCxnSpPr>
        <p:spPr>
          <a:xfrm>
            <a:off x="2419004" y="4227022"/>
            <a:ext cx="2797232" cy="8912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5" name="直接箭头连接符 44">
            <a:extLst>
              <a:ext uri="{FF2B5EF4-FFF2-40B4-BE49-F238E27FC236}">
                <a16:creationId xmlns:a16="http://schemas.microsoft.com/office/drawing/2014/main" id="{2C5C59FF-AE03-4D03-9C1C-C6E8EE972F6A}"/>
              </a:ext>
            </a:extLst>
          </p:cNvPr>
          <p:cNvCxnSpPr/>
          <p:nvPr/>
        </p:nvCxnSpPr>
        <p:spPr>
          <a:xfrm flipV="1">
            <a:off x="3798916" y="2373284"/>
            <a:ext cx="2033371" cy="13799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09892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724CED0-D682-47A1-AF89-0800F9DBB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hat is </a:t>
            </a:r>
            <a:r>
              <a:rPr lang="en-US" altLang="zh-CN" dirty="0" err="1"/>
              <a:t>push_back</a:t>
            </a:r>
            <a:r>
              <a:rPr lang="en-US" altLang="zh-CN" dirty="0"/>
              <a:t> doing?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27CBEDA-0D7A-42DF-A299-AE05C19D9A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pic>
        <p:nvPicPr>
          <p:cNvPr id="22" name="图片 21">
            <a:extLst>
              <a:ext uri="{FF2B5EF4-FFF2-40B4-BE49-F238E27FC236}">
                <a16:creationId xmlns:a16="http://schemas.microsoft.com/office/drawing/2014/main" id="{578C74AB-CF6C-461E-8D6E-9E100B58BB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567" y="1799705"/>
            <a:ext cx="7459317" cy="4120718"/>
          </a:xfrm>
          <a:prstGeom prst="rect">
            <a:avLst/>
          </a:prstGeom>
        </p:spPr>
      </p:pic>
      <p:pic>
        <p:nvPicPr>
          <p:cNvPr id="23" name="图片 22">
            <a:extLst>
              <a:ext uri="{FF2B5EF4-FFF2-40B4-BE49-F238E27FC236}">
                <a16:creationId xmlns:a16="http://schemas.microsoft.com/office/drawing/2014/main" id="{FD556B51-AC34-4CC7-8AF4-639DF87151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97468" y="-1"/>
            <a:ext cx="2561129" cy="6858000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91E55636-83D0-43B6-A90C-1BFD5C95B1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99032" y="0"/>
            <a:ext cx="1778149" cy="6858000"/>
          </a:xfrm>
          <a:prstGeom prst="rect">
            <a:avLst/>
          </a:prstGeom>
        </p:spPr>
      </p:pic>
      <p:sp>
        <p:nvSpPr>
          <p:cNvPr id="25" name="文本框 24">
            <a:extLst>
              <a:ext uri="{FF2B5EF4-FFF2-40B4-BE49-F238E27FC236}">
                <a16:creationId xmlns:a16="http://schemas.microsoft.com/office/drawing/2014/main" id="{C5D8BB85-588C-413A-BA35-97F24F628E2E}"/>
              </a:ext>
            </a:extLst>
          </p:cNvPr>
          <p:cNvSpPr txBox="1"/>
          <p:nvPr/>
        </p:nvSpPr>
        <p:spPr>
          <a:xfrm>
            <a:off x="8383385" y="3002956"/>
            <a:ext cx="19701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i="1" dirty="0">
                <a:solidFill>
                  <a:srgbClr val="39BAE8"/>
                </a:solidFill>
                <a:effectLst>
                  <a:glow rad="101600">
                    <a:schemeClr val="accent4">
                      <a:satMod val="175000"/>
                      <a:alpha val="40000"/>
                    </a:schemeClr>
                  </a:glow>
                </a:effectLst>
              </a:rPr>
              <a:t>GCC =&gt; 2x</a:t>
            </a:r>
            <a:endParaRPr lang="zh-CN" altLang="en-US" b="1" i="1" dirty="0">
              <a:solidFill>
                <a:srgbClr val="39BAE8"/>
              </a:solidFill>
              <a:effectLst>
                <a:glow rad="101600">
                  <a:schemeClr val="accent4">
                    <a:satMod val="175000"/>
                    <a:alpha val="40000"/>
                  </a:schemeClr>
                </a:glow>
              </a:effectLst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005E28A1-44FC-4183-9890-7231ADDE1B58}"/>
              </a:ext>
            </a:extLst>
          </p:cNvPr>
          <p:cNvSpPr txBox="1"/>
          <p:nvPr/>
        </p:nvSpPr>
        <p:spPr>
          <a:xfrm>
            <a:off x="10535429" y="3002956"/>
            <a:ext cx="19701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i="1" dirty="0">
                <a:solidFill>
                  <a:srgbClr val="39BAE8"/>
                </a:solidFill>
                <a:effectLst>
                  <a:glow rad="139700">
                    <a:schemeClr val="accent4">
                      <a:satMod val="175000"/>
                      <a:alpha val="40000"/>
                    </a:schemeClr>
                  </a:glow>
                </a:effectLst>
              </a:rPr>
              <a:t>MSVC =&gt; 1.5x</a:t>
            </a:r>
            <a:endParaRPr lang="zh-CN" altLang="en-US" b="1" i="1" dirty="0">
              <a:solidFill>
                <a:srgbClr val="39BAE8"/>
              </a:solidFill>
              <a:effectLst>
                <a:glow rad="139700">
                  <a:schemeClr val="accent4">
                    <a:satMod val="175000"/>
                    <a:alpha val="40000"/>
                  </a:schemeClr>
                </a:glo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3921233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17FB5AE-886D-433C-92BE-5C8389E0C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AB03F2B-D334-4F45-9F11-C9736FFBAD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B9309617-FE30-4E08-8B00-EF61AA7AF0E7}"/>
              </a:ext>
            </a:extLst>
          </p:cNvPr>
          <p:cNvSpPr txBox="1"/>
          <p:nvPr/>
        </p:nvSpPr>
        <p:spPr>
          <a:xfrm>
            <a:off x="1238596" y="2161309"/>
            <a:ext cx="957626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sz="2000" dirty="0"/>
              <a:t>Use STL containers, they are well implemented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sz="2000" dirty="0"/>
              <a:t>If you only need `</a:t>
            </a:r>
            <a:r>
              <a:rPr lang="en-US" altLang="zh-CN" sz="2000" b="1" dirty="0" err="1"/>
              <a:t>push_back</a:t>
            </a:r>
            <a:r>
              <a:rPr lang="en-US" altLang="zh-CN" sz="2000" dirty="0"/>
              <a:t>` =&gt; std::vector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sz="2000" dirty="0"/>
              <a:t>If you need `</a:t>
            </a:r>
            <a:r>
              <a:rPr lang="en-US" altLang="zh-CN" sz="2000" b="1" dirty="0" err="1"/>
              <a:t>push_front</a:t>
            </a:r>
            <a:r>
              <a:rPr lang="en-US" altLang="zh-CN" sz="2000" dirty="0"/>
              <a:t>` =&gt; std::deque(as a list)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sz="2000" dirty="0">
                <a:solidFill>
                  <a:srgbClr val="0070C0"/>
                </a:solidFill>
              </a:rPr>
              <a:t>Try `</a:t>
            </a:r>
            <a:r>
              <a:rPr lang="en-US" altLang="zh-CN" sz="2000" b="1" dirty="0">
                <a:solidFill>
                  <a:srgbClr val="0070C0"/>
                </a:solidFill>
              </a:rPr>
              <a:t>reserve</a:t>
            </a:r>
            <a:r>
              <a:rPr lang="en-US" altLang="zh-CN" sz="2000" dirty="0">
                <a:solidFill>
                  <a:srgbClr val="0070C0"/>
                </a:solidFill>
              </a:rPr>
              <a:t>` if possible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sz="2000" dirty="0"/>
              <a:t>As to other containers … My suggestion is that you’d better ignore them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39639207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BBBCBE-6CB2-43A1-A956-EBC525673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1532" y="362129"/>
            <a:ext cx="5419185" cy="895350"/>
          </a:xfrm>
        </p:spPr>
        <p:txBody>
          <a:bodyPr>
            <a:normAutofit/>
          </a:bodyPr>
          <a:lstStyle/>
          <a:p>
            <a:r>
              <a:rPr lang="en-US" altLang="zh-CN" sz="28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Today, you’ll learn:</a:t>
            </a:r>
            <a:endParaRPr lang="zh-CN" altLang="en-US" sz="2800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onstantia" panose="02030602050306030303" pitchFamily="18" charset="0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AC23039-6D35-4FF4-A5CC-E3FABA93C6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61532" y="2922026"/>
            <a:ext cx="9969189" cy="3306683"/>
          </a:xfrm>
        </p:spPr>
        <p:txBody>
          <a:bodyPr>
            <a:norm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How to write </a:t>
            </a:r>
            <a:r>
              <a:rPr lang="en-US" altLang="zh-CN" sz="2000" b="1" dirty="0"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Linux</a:t>
            </a:r>
            <a:r>
              <a:rPr lang="en-US" altLang="zh-CN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 command line code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How to use </a:t>
            </a:r>
            <a:r>
              <a:rPr lang="en-US" altLang="zh-CN" sz="2000" b="1" dirty="0" err="1"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CMake</a:t>
            </a:r>
            <a:r>
              <a:rPr lang="en-US" altLang="zh-CN" sz="2000" dirty="0"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 </a:t>
            </a:r>
            <a:r>
              <a:rPr lang="en-US" altLang="zh-CN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to build cross-platform C++ projects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How to use basic </a:t>
            </a:r>
            <a:r>
              <a:rPr lang="en-US" altLang="zh-CN" sz="2000" b="1" dirty="0"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STL</a:t>
            </a:r>
            <a:r>
              <a:rPr lang="en-US" altLang="zh-CN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 tools to boost C++ coding efficiency(</a:t>
            </a:r>
            <a:r>
              <a:rPr lang="en-US" altLang="zh-CN" sz="2000" i="1" dirty="0">
                <a:solidFill>
                  <a:schemeClr val="bg1">
                    <a:lumMod val="75000"/>
                  </a:schemeClr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or say good bye to C++ ever</a:t>
            </a:r>
            <a:r>
              <a:rPr lang="en-US" altLang="zh-CN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)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How to use </a:t>
            </a:r>
            <a:r>
              <a:rPr lang="en-US" altLang="zh-CN" sz="2000" b="1" dirty="0"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git &amp; GitHub </a:t>
            </a:r>
            <a:r>
              <a:rPr lang="en-US" altLang="zh-CN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for group work, code communication and …</a:t>
            </a:r>
            <a:endParaRPr lang="zh-CN" alt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onstantia" panose="020306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16190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BE20A21-5B70-45F7-8D88-A348C7201A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lgorithms —— An </a:t>
            </a:r>
            <a:r>
              <a:rPr lang="en-US" altLang="zh-CN" i="1" dirty="0"/>
              <a:t>iterator</a:t>
            </a:r>
            <a:r>
              <a:rPr lang="en-US" altLang="zh-CN" dirty="0"/>
              <a:t> view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158AABE-F15D-4440-91BD-D117110432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E6049315-ABAD-4785-BB56-72BDD60103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6833" y="1028700"/>
            <a:ext cx="7903008" cy="4384677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503D9038-239D-4710-A20F-738D9337FA19}"/>
              </a:ext>
            </a:extLst>
          </p:cNvPr>
          <p:cNvSpPr/>
          <p:nvPr/>
        </p:nvSpPr>
        <p:spPr>
          <a:xfrm>
            <a:off x="1404850" y="5789814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51712408-2238-4E49-81D5-C101C70CBE53}"/>
              </a:ext>
            </a:extLst>
          </p:cNvPr>
          <p:cNvSpPr/>
          <p:nvPr/>
        </p:nvSpPr>
        <p:spPr>
          <a:xfrm>
            <a:off x="1986741" y="5789813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F819A459-61DA-4357-A6B8-9A35DF00F0A6}"/>
              </a:ext>
            </a:extLst>
          </p:cNvPr>
          <p:cNvSpPr/>
          <p:nvPr/>
        </p:nvSpPr>
        <p:spPr>
          <a:xfrm>
            <a:off x="2570708" y="5789813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9E3C504-B7F8-47A9-BE64-26213C5F6BC9}"/>
              </a:ext>
            </a:extLst>
          </p:cNvPr>
          <p:cNvSpPr/>
          <p:nvPr/>
        </p:nvSpPr>
        <p:spPr>
          <a:xfrm>
            <a:off x="3150523" y="5789813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552BBB9D-0176-4C58-8B5E-05B10E041C0F}"/>
              </a:ext>
            </a:extLst>
          </p:cNvPr>
          <p:cNvSpPr/>
          <p:nvPr/>
        </p:nvSpPr>
        <p:spPr>
          <a:xfrm>
            <a:off x="3732414" y="5789813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3E2A35BC-BC41-4B3C-BB8E-C755C9430997}"/>
              </a:ext>
            </a:extLst>
          </p:cNvPr>
          <p:cNvSpPr/>
          <p:nvPr/>
        </p:nvSpPr>
        <p:spPr>
          <a:xfrm>
            <a:off x="4312229" y="5789814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89A15A7F-94E4-408F-820B-A863A7003CC3}"/>
              </a:ext>
            </a:extLst>
          </p:cNvPr>
          <p:cNvSpPr/>
          <p:nvPr/>
        </p:nvSpPr>
        <p:spPr>
          <a:xfrm>
            <a:off x="4894120" y="5789813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F40E487C-962A-43F6-BBCC-8198F521A10C}"/>
              </a:ext>
            </a:extLst>
          </p:cNvPr>
          <p:cNvSpPr/>
          <p:nvPr/>
        </p:nvSpPr>
        <p:spPr>
          <a:xfrm>
            <a:off x="5478087" y="5789813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0093B5C-62AA-4E65-A53B-F42B7140E529}"/>
              </a:ext>
            </a:extLst>
          </p:cNvPr>
          <p:cNvSpPr/>
          <p:nvPr/>
        </p:nvSpPr>
        <p:spPr>
          <a:xfrm>
            <a:off x="6057902" y="5789813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42E4941-6016-43DA-9C0D-14DED242D090}"/>
              </a:ext>
            </a:extLst>
          </p:cNvPr>
          <p:cNvSpPr/>
          <p:nvPr/>
        </p:nvSpPr>
        <p:spPr>
          <a:xfrm>
            <a:off x="6639793" y="5789813"/>
            <a:ext cx="581891" cy="53201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</a:t>
            </a:r>
            <a:endParaRPr lang="zh-CN" altLang="en-US" dirty="0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6C0ECA75-31ED-4780-89A8-0353109F4071}"/>
              </a:ext>
            </a:extLst>
          </p:cNvPr>
          <p:cNvSpPr/>
          <p:nvPr/>
        </p:nvSpPr>
        <p:spPr>
          <a:xfrm>
            <a:off x="8026632" y="5838804"/>
            <a:ext cx="1286392" cy="434032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err="1"/>
              <a:t>vec.end</a:t>
            </a:r>
            <a:r>
              <a:rPr lang="en-US" altLang="zh-CN" b="1" dirty="0"/>
              <a:t>()</a:t>
            </a:r>
            <a:endParaRPr lang="zh-CN" altLang="en-US" b="1" dirty="0"/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88F8A480-DF74-42C3-AD14-D8FCC046181D}"/>
              </a:ext>
            </a:extLst>
          </p:cNvPr>
          <p:cNvSpPr txBox="1"/>
          <p:nvPr/>
        </p:nvSpPr>
        <p:spPr>
          <a:xfrm>
            <a:off x="292847" y="5149734"/>
            <a:ext cx="1402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err="1"/>
              <a:t>vec.begin</a:t>
            </a:r>
            <a:r>
              <a:rPr lang="en-US" altLang="zh-CN" b="1" dirty="0"/>
              <a:t>()</a:t>
            </a:r>
            <a:endParaRPr lang="zh-CN" altLang="en-US" b="1" dirty="0"/>
          </a:p>
        </p:txBody>
      </p:sp>
      <p:cxnSp>
        <p:nvCxnSpPr>
          <p:cNvPr id="23" name="直接箭头连接符 22">
            <a:extLst>
              <a:ext uri="{FF2B5EF4-FFF2-40B4-BE49-F238E27FC236}">
                <a16:creationId xmlns:a16="http://schemas.microsoft.com/office/drawing/2014/main" id="{49A4174D-CA22-46DC-87A5-AF740E5B27F6}"/>
              </a:ext>
            </a:extLst>
          </p:cNvPr>
          <p:cNvCxnSpPr>
            <a:stCxn id="20" idx="2"/>
            <a:endCxn id="6" idx="1"/>
          </p:cNvCxnSpPr>
          <p:nvPr/>
        </p:nvCxnSpPr>
        <p:spPr>
          <a:xfrm>
            <a:off x="994321" y="5519066"/>
            <a:ext cx="410529" cy="53675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0" name="直接箭头连接符 29">
            <a:extLst>
              <a:ext uri="{FF2B5EF4-FFF2-40B4-BE49-F238E27FC236}">
                <a16:creationId xmlns:a16="http://schemas.microsoft.com/office/drawing/2014/main" id="{FEE4243F-D24F-4441-AA8B-D369BA6901C5}"/>
              </a:ext>
            </a:extLst>
          </p:cNvPr>
          <p:cNvCxnSpPr>
            <a:cxnSpLocks/>
            <a:stCxn id="18" idx="3"/>
            <a:endCxn id="19" idx="1"/>
          </p:cNvCxnSpPr>
          <p:nvPr/>
        </p:nvCxnSpPr>
        <p:spPr>
          <a:xfrm flipV="1">
            <a:off x="7221684" y="6055820"/>
            <a:ext cx="804948" cy="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3" name="文本框 32">
            <a:extLst>
              <a:ext uri="{FF2B5EF4-FFF2-40B4-BE49-F238E27FC236}">
                <a16:creationId xmlns:a16="http://schemas.microsoft.com/office/drawing/2014/main" id="{57FAE4CA-3B81-468E-9E60-00EA4B6C89FB}"/>
              </a:ext>
            </a:extLst>
          </p:cNvPr>
          <p:cNvSpPr txBox="1"/>
          <p:nvPr/>
        </p:nvSpPr>
        <p:spPr>
          <a:xfrm>
            <a:off x="5680953" y="6427787"/>
            <a:ext cx="56861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No value here, just a dummy iterator marking the end.</a:t>
            </a:r>
            <a:endParaRPr lang="zh-CN" altLang="en-US" dirty="0"/>
          </a:p>
        </p:txBody>
      </p:sp>
      <p:cxnSp>
        <p:nvCxnSpPr>
          <p:cNvPr id="35" name="连接符: 曲线 34">
            <a:extLst>
              <a:ext uri="{FF2B5EF4-FFF2-40B4-BE49-F238E27FC236}">
                <a16:creationId xmlns:a16="http://schemas.microsoft.com/office/drawing/2014/main" id="{BC5A48B2-02D9-47E8-8545-DCAEAF937602}"/>
              </a:ext>
            </a:extLst>
          </p:cNvPr>
          <p:cNvCxnSpPr>
            <a:stCxn id="33" idx="3"/>
            <a:endCxn id="19" idx="3"/>
          </p:cNvCxnSpPr>
          <p:nvPr/>
        </p:nvCxnSpPr>
        <p:spPr>
          <a:xfrm flipH="1" flipV="1">
            <a:off x="9313024" y="6055820"/>
            <a:ext cx="2054101" cy="556633"/>
          </a:xfrm>
          <a:prstGeom prst="curvedConnector3">
            <a:avLst>
              <a:gd name="adj1" fmla="val -11129"/>
            </a:avLst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6" name="文本框 35">
            <a:extLst>
              <a:ext uri="{FF2B5EF4-FFF2-40B4-BE49-F238E27FC236}">
                <a16:creationId xmlns:a16="http://schemas.microsoft.com/office/drawing/2014/main" id="{45F9019B-D7CA-4A5A-86EE-24A038FAC9BD}"/>
              </a:ext>
            </a:extLst>
          </p:cNvPr>
          <p:cNvSpPr txBox="1"/>
          <p:nvPr/>
        </p:nvSpPr>
        <p:spPr>
          <a:xfrm>
            <a:off x="994321" y="6488667"/>
            <a:ext cx="16658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err="1"/>
              <a:t>vec.begin</a:t>
            </a:r>
            <a:r>
              <a:rPr lang="en-US" altLang="zh-CN" b="1" dirty="0"/>
              <a:t>()+3</a:t>
            </a:r>
            <a:endParaRPr lang="zh-CN" altLang="en-US" b="1" dirty="0"/>
          </a:p>
        </p:txBody>
      </p:sp>
      <p:cxnSp>
        <p:nvCxnSpPr>
          <p:cNvPr id="38" name="直接箭头连接符 37">
            <a:extLst>
              <a:ext uri="{FF2B5EF4-FFF2-40B4-BE49-F238E27FC236}">
                <a16:creationId xmlns:a16="http://schemas.microsoft.com/office/drawing/2014/main" id="{7E3F7E97-CE6C-4D96-9D6B-88ED1266AA2E}"/>
              </a:ext>
            </a:extLst>
          </p:cNvPr>
          <p:cNvCxnSpPr>
            <a:stCxn id="36" idx="3"/>
            <a:endCxn id="9" idx="2"/>
          </p:cNvCxnSpPr>
          <p:nvPr/>
        </p:nvCxnSpPr>
        <p:spPr>
          <a:xfrm flipV="1">
            <a:off x="2660162" y="6321828"/>
            <a:ext cx="781307" cy="35150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01674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BCE448F-8E9C-4CF6-A555-0D4D593BE8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terate a container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00E46CF-061F-4900-99EA-A6D0A4A99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346AEEBB-92AD-49A3-91DC-EB3F47FD954F}"/>
              </a:ext>
            </a:extLst>
          </p:cNvPr>
          <p:cNvSpPr txBox="1"/>
          <p:nvPr/>
        </p:nvSpPr>
        <p:spPr>
          <a:xfrm>
            <a:off x="3061892" y="2164405"/>
            <a:ext cx="51251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b="1" i="1" u="sng" dirty="0"/>
              <a:t>Just the same(but more pythonic)</a:t>
            </a:r>
            <a:endParaRPr lang="zh-CN" altLang="en-US" sz="2400" b="1" i="1" u="sng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1E710D53-299A-421A-919A-02D358DF66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6974" y="2981188"/>
            <a:ext cx="8142759" cy="2165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9174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2567912-521C-4EDC-9FAE-3026017374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inally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ABA0B9B-51E9-4A21-8A6C-FB4B6EF3FB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400FAC4-8C08-4CB6-BE04-17F8EFC48AF7}"/>
              </a:ext>
            </a:extLst>
          </p:cNvPr>
          <p:cNvSpPr txBox="1"/>
          <p:nvPr/>
        </p:nvSpPr>
        <p:spPr>
          <a:xfrm>
            <a:off x="3219856" y="2193587"/>
            <a:ext cx="60195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i="1" u="sng" dirty="0"/>
              <a:t>Look for what you need here</a:t>
            </a:r>
            <a:r>
              <a:rPr lang="en-US" altLang="zh-CN" i="1" u="sng" dirty="0"/>
              <a:t>(Not CSDN)</a:t>
            </a:r>
            <a:r>
              <a:rPr lang="en-US" altLang="zh-CN" b="1" i="1" u="sng" dirty="0"/>
              <a:t>. (Always ref)</a:t>
            </a:r>
            <a:endParaRPr lang="zh-CN" altLang="en-US" b="1" i="1" u="sng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E7F1B047-331D-4617-8FE4-A53AD9B837FA}"/>
              </a:ext>
            </a:extLst>
          </p:cNvPr>
          <p:cNvSpPr/>
          <p:nvPr/>
        </p:nvSpPr>
        <p:spPr>
          <a:xfrm>
            <a:off x="1512651" y="2896809"/>
            <a:ext cx="107831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4800" b="1" dirty="0">
                <a:hlinkClick r:id="rId2"/>
              </a:rPr>
              <a:t>https://en.cppreference.com/w/</a:t>
            </a:r>
            <a:endParaRPr lang="zh-CN" altLang="en-US" sz="4800" b="1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2D8157D3-DD33-4755-9EA4-D40FE3664C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3399" y="4354052"/>
            <a:ext cx="8172510" cy="1443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48198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C02EC37-56C1-47B8-9143-4B42844AB0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Quiz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D34330F-DBB4-4452-9675-AD37419CD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8541212-753C-4CA5-BE8A-6554CD41B723}"/>
              </a:ext>
            </a:extLst>
          </p:cNvPr>
          <p:cNvSpPr txBox="1"/>
          <p:nvPr/>
        </p:nvSpPr>
        <p:spPr>
          <a:xfrm>
            <a:off x="2543783" y="1828799"/>
            <a:ext cx="60668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/>
              <a:t>给定一个长度</a:t>
            </a:r>
            <a:r>
              <a:rPr lang="en-US" altLang="zh-CN" sz="2400" b="1" dirty="0"/>
              <a:t>1000</a:t>
            </a:r>
            <a:r>
              <a:rPr lang="zh-CN" altLang="en-US" sz="2400" b="1" dirty="0"/>
              <a:t>的</a:t>
            </a:r>
            <a:r>
              <a:rPr lang="en-US" altLang="zh-CN" sz="2400" b="1" dirty="0"/>
              <a:t>vector</a:t>
            </a:r>
            <a:r>
              <a:rPr lang="zh-CN" altLang="en-US" sz="2400" b="1" dirty="0"/>
              <a:t>，请将其翻转。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7ECE55B4-8191-493E-84B5-1E189931F0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14557" y="2556743"/>
            <a:ext cx="4462495" cy="2590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7817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Git &amp; GitHub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endParaRPr lang="zh-CN" altLang="en-US" b="1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43251" y="27284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379975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BF59E20-092E-4902-9F5E-E54FAB3652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Git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E3AD155-BEE1-4D3D-891B-7FA7BCB01F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F43F3156-2D65-4FB0-9D9E-8BBD0EDB05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7665" y="1103331"/>
            <a:ext cx="8712681" cy="4410749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CB4BC436-FBD1-4EF3-A840-3F513B2442A5}"/>
              </a:ext>
            </a:extLst>
          </p:cNvPr>
          <p:cNvSpPr/>
          <p:nvPr/>
        </p:nvSpPr>
        <p:spPr>
          <a:xfrm>
            <a:off x="3362239" y="5855543"/>
            <a:ext cx="52483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>
                <a:hlinkClick r:id="rId3"/>
              </a:rPr>
              <a:t>https://www.youtube.com/watch?v=SWYqp7iY_Tc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12266A1A-D2D8-43A3-BEBA-49CE46006328}"/>
              </a:ext>
            </a:extLst>
          </p:cNvPr>
          <p:cNvSpPr/>
          <p:nvPr/>
        </p:nvSpPr>
        <p:spPr>
          <a:xfrm>
            <a:off x="2388140" y="6277766"/>
            <a:ext cx="855547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4"/>
              </a:rPr>
              <a:t>https://product.hubspot.com/blog/git-and-github-tutorial-for-beginner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59773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C3B2D65-D6B7-4673-A9C0-3AD5422EEE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GitHub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B6E6B34-3AC5-4D42-B7C6-D511D5351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C40B5F7-42A9-4BEC-B9CC-1BA229CE33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F41850D1-3C90-4909-933F-FDB94FC584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417419"/>
            <a:ext cx="12192000" cy="2314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029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9BEDDFC-D122-4C0F-B102-7A121B73DD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hat you need to do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EF002A9-DD2A-463D-B374-5970EDBBCF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B4A8188C-1EDE-47FB-B9C6-51C72C50B5DC}"/>
              </a:ext>
            </a:extLst>
          </p:cNvPr>
          <p:cNvSpPr txBox="1"/>
          <p:nvPr/>
        </p:nvSpPr>
        <p:spPr>
          <a:xfrm>
            <a:off x="578796" y="1687749"/>
            <a:ext cx="10956910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altLang="zh-CN" b="1" dirty="0"/>
              <a:t>Ubuntu</a:t>
            </a:r>
            <a:r>
              <a:rPr lang="en-US" altLang="zh-CN" dirty="0"/>
              <a:t>:		</a:t>
            </a:r>
            <a:r>
              <a:rPr lang="en-US" altLang="zh-CN" i="1" dirty="0" err="1"/>
              <a:t>sudo</a:t>
            </a:r>
            <a:r>
              <a:rPr lang="en-US" altLang="zh-CN" i="1" dirty="0"/>
              <a:t> apt-get install git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dirty="0"/>
              <a:t>Associate your local git with your remote GitHub account.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b="1" dirty="0"/>
              <a:t>Fork</a:t>
            </a:r>
            <a:r>
              <a:rPr lang="en-US" altLang="zh-CN" dirty="0"/>
              <a:t> this repo: </a:t>
            </a:r>
            <a:r>
              <a:rPr lang="en-US" altLang="zh-CN" dirty="0">
                <a:hlinkClick r:id="rId2"/>
              </a:rPr>
              <a:t>https://github.com/ganler/SPTraining-VisionGroup</a:t>
            </a:r>
            <a:r>
              <a:rPr lang="en-US" altLang="zh-CN" dirty="0"/>
              <a:t> (I’ll appreciate it if you star my repos.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dirty="0">
                <a:solidFill>
                  <a:srgbClr val="00B050"/>
                </a:solidFill>
              </a:rPr>
              <a:t>Git clone the forked repo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dirty="0">
                <a:solidFill>
                  <a:srgbClr val="00B050"/>
                </a:solidFill>
              </a:rPr>
              <a:t>Write your assignment code in this repo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dirty="0">
                <a:solidFill>
                  <a:srgbClr val="00B050"/>
                </a:solidFill>
              </a:rPr>
              <a:t>Commit and push it to original master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b="1" dirty="0"/>
              <a:t>Pull request </a:t>
            </a:r>
            <a:r>
              <a:rPr lang="en-US" altLang="zh-CN" dirty="0"/>
              <a:t>and I’ll do code review 4 you</a:t>
            </a:r>
            <a:endParaRPr lang="zh-CN" alt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0FF63AFA-405C-4A12-82E6-D7E4E2EE6A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16932" y="1277110"/>
            <a:ext cx="8974814" cy="4806039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E46FC030-2E0C-4CDE-AC0F-193C675E4A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3717" y="1630702"/>
            <a:ext cx="9801297" cy="4176743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C1835793-163A-4175-B2A3-8E8F0DF79A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12666" y="1287792"/>
            <a:ext cx="7275500" cy="4736162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C8DC04B0-3F8F-4411-8A89-8DD8B9B1ADD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3546" y="1951664"/>
            <a:ext cx="10484907" cy="3218587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17094749-1469-4B3F-B72A-F2D5734AB5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9071" y="447653"/>
            <a:ext cx="11153857" cy="5962694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B272190A-6C21-4B12-AB98-04BAC53CF50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47822" y="0"/>
            <a:ext cx="729635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696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085BE5B-3BE3-4658-A1E0-AB40B1ED15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ttentio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28E9D5D-D594-40F2-BC3B-184002787F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5B2D1524-0BEA-41BE-8277-3C38A9488CD8}"/>
              </a:ext>
            </a:extLst>
          </p:cNvPr>
          <p:cNvSpPr txBox="1"/>
          <p:nvPr/>
        </p:nvSpPr>
        <p:spPr>
          <a:xfrm>
            <a:off x="1731523" y="1478604"/>
            <a:ext cx="64427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Do not push things in `build` to </a:t>
            </a:r>
            <a:r>
              <a:rPr lang="en-US" altLang="zh-CN" dirty="0" err="1"/>
              <a:t>ur</a:t>
            </a:r>
            <a:r>
              <a:rPr lang="en-US" altLang="zh-CN" dirty="0"/>
              <a:t> repo by using </a:t>
            </a:r>
            <a:r>
              <a:rPr lang="en-US" altLang="zh-CN" b="1" dirty="0">
                <a:latin typeface="Cascadia Code" panose="020B0509020204030204" pitchFamily="49" charset="0"/>
              </a:rPr>
              <a:t>.</a:t>
            </a:r>
            <a:r>
              <a:rPr lang="en-US" altLang="zh-CN" b="1" dirty="0" err="1">
                <a:latin typeface="Cascadia Code" panose="020B0509020204030204" pitchFamily="49" charset="0"/>
              </a:rPr>
              <a:t>gitignore</a:t>
            </a:r>
            <a:endParaRPr lang="zh-CN" altLang="en-US" b="1" dirty="0">
              <a:latin typeface="Cascadia Code" panose="020B0509020204030204" pitchFamily="49" charset="0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5DFFB13D-3BC6-48AA-97CD-B09ED30F84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7115" y="2410760"/>
            <a:ext cx="8197770" cy="3063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70339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>
            <a:extLst>
              <a:ext uri="{FF2B5EF4-FFF2-40B4-BE49-F238E27FC236}">
                <a16:creationId xmlns:a16="http://schemas.microsoft.com/office/drawing/2014/main" id="{58019E78-A12E-4BA3-9E2F-71D2A05D79F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zh-CN" altLang="en-US"/>
          </a:p>
        </p:txBody>
      </p:sp>
      <p:sp>
        <p:nvSpPr>
          <p:cNvPr id="21" name="标题 8">
            <a:extLst>
              <a:ext uri="{FF2B5EF4-FFF2-40B4-BE49-F238E27FC236}">
                <a16:creationId xmlns:a16="http://schemas.microsoft.com/office/drawing/2014/main" id="{733732A8-00EB-4977-8CDD-434D9AE5CC92}"/>
              </a:ext>
            </a:extLst>
          </p:cNvPr>
          <p:cNvSpPr txBox="1">
            <a:spLocks/>
          </p:cNvSpPr>
          <p:nvPr/>
        </p:nvSpPr>
        <p:spPr>
          <a:xfrm>
            <a:off x="3256230" y="294424"/>
            <a:ext cx="5679540" cy="117810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wrap="none" lIns="91440" tIns="45720" rIns="91440" bIns="45720" rtlCol="0" anchor="ctr">
            <a:noAutofit/>
          </a:bodyPr>
          <a:lstStyle>
            <a:lvl1pPr algn="ctr" defTabSz="914354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lang="zh-CN" altLang="en-US" sz="2000" b="0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ctr" defTabSz="91435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ASSIGNMENTS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12C0E17-1E23-4814-9E50-737201B4A8EB}"/>
              </a:ext>
            </a:extLst>
          </p:cNvPr>
          <p:cNvSpPr txBox="1"/>
          <p:nvPr/>
        </p:nvSpPr>
        <p:spPr>
          <a:xfrm>
            <a:off x="1242127" y="1581350"/>
            <a:ext cx="9827777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altLang="zh-CN" sz="2000" b="1" dirty="0">
                <a:latin typeface="Courier New" panose="02070309020205020404" pitchFamily="49" charset="0"/>
                <a:cs typeface="Courier New" panose="02070309020205020404" pitchFamily="49" charset="0"/>
              </a:rPr>
              <a:t>Compile </a:t>
            </a:r>
            <a:r>
              <a:rPr lang="en-US" altLang="zh-CN" sz="2000" b="1" u="sng" dirty="0">
                <a:latin typeface="Courier New" panose="02070309020205020404" pitchFamily="49" charset="0"/>
                <a:cs typeface="Courier New" panose="02070309020205020404" pitchFamily="49" charset="0"/>
              </a:rPr>
              <a:t>Facebook folly</a:t>
            </a:r>
            <a:r>
              <a:rPr lang="en-US" altLang="zh-CN" sz="2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altLang="zh-CN" sz="2000" dirty="0">
                <a:hlinkClick r:id="rId3"/>
              </a:rPr>
              <a:t>https://github.com/facebook/folly</a:t>
            </a:r>
            <a:r>
              <a:rPr lang="en-US" altLang="zh-CN" sz="2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 from source and </a:t>
            </a:r>
            <a:r>
              <a:rPr lang="en-US" altLang="zh-CN" sz="2000" b="1" u="sng" dirty="0">
                <a:latin typeface="Courier New" panose="02070309020205020404" pitchFamily="49" charset="0"/>
                <a:cs typeface="Courier New" panose="02070309020205020404" pitchFamily="49" charset="0"/>
              </a:rPr>
              <a:t>record your shell codes.</a:t>
            </a:r>
          </a:p>
          <a:p>
            <a:pPr marL="342900" indent="-342900">
              <a:buAutoNum type="arabicPeriod"/>
            </a:pPr>
            <a:r>
              <a:rPr lang="en-US" altLang="zh-CN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Use </a:t>
            </a:r>
            <a:r>
              <a:rPr lang="en-US" altLang="zh-CN" sz="2000" b="1" u="sng" dirty="0">
                <a:latin typeface="Courier New" panose="02070309020205020404" pitchFamily="49" charset="0"/>
                <a:cs typeface="Courier New" panose="02070309020205020404" pitchFamily="49" charset="0"/>
              </a:rPr>
              <a:t>cv::</a:t>
            </a:r>
            <a:r>
              <a:rPr lang="en-US" altLang="zh-CN" sz="2000" b="1" u="sng" dirty="0" err="1">
                <a:latin typeface="Courier New" panose="02070309020205020404" pitchFamily="49" charset="0"/>
                <a:cs typeface="Courier New" panose="02070309020205020404" pitchFamily="49" charset="0"/>
              </a:rPr>
              <a:t>VideoCapture</a:t>
            </a:r>
            <a:r>
              <a:rPr lang="en-US" altLang="zh-CN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in OpenCV to read a video.</a:t>
            </a:r>
          </a:p>
          <a:p>
            <a:pPr marL="342900" indent="-342900">
              <a:buAutoNum type="arabicPeriod"/>
            </a:pPr>
            <a:r>
              <a:rPr lang="en-US" altLang="zh-CN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Finish </a:t>
            </a:r>
            <a:r>
              <a:rPr lang="en-US" altLang="zh-CN" sz="2000" b="1" u="sng" dirty="0" err="1">
                <a:latin typeface="Courier New" panose="02070309020205020404" pitchFamily="49" charset="0"/>
                <a:cs typeface="Courier New" panose="02070309020205020404" pitchFamily="49" charset="0"/>
              </a:rPr>
              <a:t>LeetCode</a:t>
            </a:r>
            <a:r>
              <a:rPr lang="en-US" altLang="zh-CN" sz="2000" b="1" u="sng" dirty="0">
                <a:latin typeface="Courier New" panose="02070309020205020404" pitchFamily="49" charset="0"/>
                <a:cs typeface="Courier New" panose="02070309020205020404" pitchFamily="49" charset="0"/>
              </a:rPr>
              <a:t>~[189, 268]</a:t>
            </a:r>
            <a:r>
              <a:rPr lang="en-US" altLang="zh-CN" sz="2000" b="1" i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altLang="zh-CN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using STL.</a:t>
            </a:r>
          </a:p>
          <a:p>
            <a:pPr marL="342900" indent="-342900">
              <a:buAutoNum type="arabicPeriod"/>
            </a:pPr>
            <a:r>
              <a:rPr lang="en-US" altLang="zh-CN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Implement </a:t>
            </a:r>
            <a:r>
              <a:rPr lang="en-US" altLang="zh-CN" sz="2000" b="1" dirty="0">
                <a:latin typeface="Courier New" panose="02070309020205020404" pitchFamily="49" charset="0"/>
                <a:cs typeface="Courier New" panose="02070309020205020404" pitchFamily="49" charset="0"/>
              </a:rPr>
              <a:t>binary search with</a:t>
            </a:r>
            <a:r>
              <a:rPr lang="en-US" altLang="zh-CN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API like </a:t>
            </a:r>
            <a:endParaRPr lang="en-US" altLang="zh-CN" b="1" dirty="0"/>
          </a:p>
          <a:p>
            <a:pPr algn="ctr"/>
            <a:endParaRPr lang="en-US" altLang="zh-CN" b="1" dirty="0"/>
          </a:p>
          <a:p>
            <a:pPr algn="ctr"/>
            <a:endParaRPr lang="en-US" altLang="zh-CN" b="1" dirty="0"/>
          </a:p>
          <a:p>
            <a:pPr algn="ctr"/>
            <a:endParaRPr lang="en-US" altLang="zh-CN" b="1" dirty="0"/>
          </a:p>
          <a:p>
            <a:pPr algn="ctr"/>
            <a:endParaRPr lang="en-US" altLang="zh-CN" b="1" dirty="0"/>
          </a:p>
          <a:p>
            <a:pPr algn="ctr"/>
            <a:endParaRPr lang="en-US" altLang="zh-CN" b="1" dirty="0"/>
          </a:p>
          <a:p>
            <a:pPr algn="ctr"/>
            <a:endParaRPr lang="en-US" altLang="zh-CN" b="1" dirty="0"/>
          </a:p>
          <a:p>
            <a:pPr algn="ctr"/>
            <a:endParaRPr lang="en-US" altLang="zh-CN" b="1" dirty="0"/>
          </a:p>
          <a:p>
            <a:pPr algn="ctr"/>
            <a:endParaRPr lang="en-US" altLang="zh-CN" b="1" dirty="0"/>
          </a:p>
          <a:p>
            <a:pPr algn="ctr"/>
            <a:r>
              <a:rPr lang="en-US" altLang="zh-CN" b="1" dirty="0"/>
              <a:t>DDL</a:t>
            </a:r>
          </a:p>
          <a:p>
            <a:pPr algn="ctr"/>
            <a:r>
              <a:rPr lang="en-US" altLang="zh-CN" sz="8000" dirty="0">
                <a:latin typeface="Cambria Math" panose="02040503050406030204" pitchFamily="18" charset="0"/>
                <a:ea typeface="Cambria Math" panose="02040503050406030204" pitchFamily="18" charset="0"/>
              </a:rPr>
              <a:t>2019/10/7</a:t>
            </a:r>
            <a:endParaRPr lang="zh-CN" altLang="en-US" sz="8000" dirty="0">
              <a:latin typeface="Cambria Math" panose="02040503050406030204" pitchFamily="18" charset="0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0D883160-C70D-49D5-B3DB-6E03480814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41330" y="3157322"/>
            <a:ext cx="6029369" cy="2119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7950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inux Shell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43251" y="27284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CBA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8">
            <a:extLst>
              <a:ext uri="{FF2B5EF4-FFF2-40B4-BE49-F238E27FC236}">
                <a16:creationId xmlns:a16="http://schemas.microsoft.com/office/drawing/2014/main" id="{64450C6E-6BC0-46FA-A735-04F3397B2256}"/>
              </a:ext>
            </a:extLst>
          </p:cNvPr>
          <p:cNvSpPr txBox="1">
            <a:spLocks/>
          </p:cNvSpPr>
          <p:nvPr/>
        </p:nvSpPr>
        <p:spPr>
          <a:xfrm>
            <a:off x="3256230" y="2028830"/>
            <a:ext cx="5679540" cy="117810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wrap="none" lIns="91440" tIns="45720" rIns="91440" bIns="45720" rtlCol="0" anchor="ctr">
            <a:noAutofit/>
          </a:bodyPr>
          <a:lstStyle>
            <a:lvl1pPr algn="ctr" defTabSz="914354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lang="zh-CN" altLang="en-US" sz="2000" b="0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ctr" defTabSz="91435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Further Reading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843E97E4-6E6C-4204-8823-EBBA1CC55DF7}"/>
              </a:ext>
            </a:extLst>
          </p:cNvPr>
          <p:cNvSpPr/>
          <p:nvPr/>
        </p:nvSpPr>
        <p:spPr>
          <a:xfrm>
            <a:off x="3652250" y="3869665"/>
            <a:ext cx="469872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hlinkClick r:id="rId2"/>
              </a:rPr>
              <a:t>http://assets.hkoi.org/training2017/cppstl.pdf</a:t>
            </a:r>
            <a:endParaRPr lang="en-US" altLang="zh-CN" dirty="0"/>
          </a:p>
          <a:p>
            <a:r>
              <a:rPr lang="en-US" altLang="zh-CN"/>
              <a:t>YOUTUBE: THECHERNOPROJEC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3928012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>
            <a:extLst>
              <a:ext uri="{FF2B5EF4-FFF2-40B4-BE49-F238E27FC236}">
                <a16:creationId xmlns:a16="http://schemas.microsoft.com/office/drawing/2014/main" id="{58019E78-A12E-4BA3-9E2F-71D2A05D79F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CC4B4A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标题 8">
            <a:extLst>
              <a:ext uri="{FF2B5EF4-FFF2-40B4-BE49-F238E27FC236}">
                <a16:creationId xmlns:a16="http://schemas.microsoft.com/office/drawing/2014/main" id="{733732A8-00EB-4977-8CDD-434D9AE5CC92}"/>
              </a:ext>
            </a:extLst>
          </p:cNvPr>
          <p:cNvSpPr txBox="1">
            <a:spLocks/>
          </p:cNvSpPr>
          <p:nvPr/>
        </p:nvSpPr>
        <p:spPr>
          <a:xfrm>
            <a:off x="3256230" y="2028830"/>
            <a:ext cx="5679540" cy="117810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wrap="none" lIns="91440" tIns="45720" rIns="91440" bIns="45720" rtlCol="0" anchor="ctr">
            <a:noAutofit/>
          </a:bodyPr>
          <a:lstStyle>
            <a:lvl1pPr algn="ctr" defTabSz="914354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lang="zh-CN" altLang="en-US" sz="2000" b="0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ctr" defTabSz="91435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4000" b="1" dirty="0">
                <a:solidFill>
                  <a:srgbClr val="FFFFFF"/>
                </a:solidFill>
                <a:latin typeface="Consolas" panose="020B0609020204030204" pitchFamily="49" charset="0"/>
              </a:rPr>
              <a:t>s</a:t>
            </a: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td::</a:t>
            </a:r>
            <a:r>
              <a:rPr kumimoji="0" lang="en-US" altLang="en-US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quick_exit</a:t>
            </a: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(0);</a:t>
            </a:r>
          </a:p>
        </p:txBody>
      </p:sp>
    </p:spTree>
    <p:extLst>
      <p:ext uri="{BB962C8B-B14F-4D97-AF65-F5344CB8AC3E}">
        <p14:creationId xmlns:p14="http://schemas.microsoft.com/office/powerpoint/2010/main" val="33947757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D66499-C586-4F9F-BC78-7B5692A12E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hat’s an OS?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4426DA2-686A-46A6-811D-3AFE7B4A34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grpSp>
        <p:nvGrpSpPr>
          <p:cNvPr id="5" name="4be90c13-0265-47d4-9235-2547409d16a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C46BA5E-7C2D-4D7C-8EBD-2F93D984BB5F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2255959"/>
            <a:ext cx="10850563" cy="2129250"/>
            <a:chOff x="669925" y="2255959"/>
            <a:chExt cx="10850563" cy="2129250"/>
          </a:xfrm>
        </p:grpSpPr>
        <p:grpSp>
          <p:nvGrpSpPr>
            <p:cNvPr id="6" name="išḻiďê">
              <a:extLst>
                <a:ext uri="{FF2B5EF4-FFF2-40B4-BE49-F238E27FC236}">
                  <a16:creationId xmlns:a16="http://schemas.microsoft.com/office/drawing/2014/main" id="{1DDC39DC-35BE-4498-89E5-19990A53FC42}"/>
                </a:ext>
              </a:extLst>
            </p:cNvPr>
            <p:cNvGrpSpPr/>
            <p:nvPr/>
          </p:nvGrpSpPr>
          <p:grpSpPr>
            <a:xfrm>
              <a:off x="3868401" y="2619360"/>
              <a:ext cx="4476949" cy="1619283"/>
              <a:chOff x="3868401" y="2619360"/>
              <a:chExt cx="4476949" cy="1619283"/>
            </a:xfrm>
          </p:grpSpPr>
          <p:sp>
            <p:nvSpPr>
              <p:cNvPr id="17" name="îşľîḍê">
                <a:extLst>
                  <a:ext uri="{FF2B5EF4-FFF2-40B4-BE49-F238E27FC236}">
                    <a16:creationId xmlns:a16="http://schemas.microsoft.com/office/drawing/2014/main" id="{E07AF0F0-123E-49A6-AE71-D09F30473D25}"/>
                  </a:ext>
                </a:extLst>
              </p:cNvPr>
              <p:cNvSpPr/>
              <p:nvPr/>
            </p:nvSpPr>
            <p:spPr>
              <a:xfrm>
                <a:off x="6147753" y="2619360"/>
                <a:ext cx="2197597" cy="1619283"/>
              </a:xfrm>
              <a:prstGeom prst="homePlate">
                <a:avLst/>
              </a:prstGeom>
              <a:solidFill>
                <a:schemeClr val="accent1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 anchorCtr="0">
                <a:normAutofit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en-US" altLang="zh-CN" b="1" dirty="0">
                    <a:solidFill>
                      <a:schemeClr val="bg1"/>
                    </a:solidFill>
                  </a:rPr>
                  <a:t>User Interface</a:t>
                </a:r>
                <a:endParaRPr lang="zh-CN" altLang="en-US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ïšľïḓê">
                <a:extLst>
                  <a:ext uri="{FF2B5EF4-FFF2-40B4-BE49-F238E27FC236}">
                    <a16:creationId xmlns:a16="http://schemas.microsoft.com/office/drawing/2014/main" id="{A47BE5BC-955C-4BBB-A6E6-0C3771FB1697}"/>
                  </a:ext>
                </a:extLst>
              </p:cNvPr>
              <p:cNvSpPr/>
              <p:nvPr/>
            </p:nvSpPr>
            <p:spPr>
              <a:xfrm flipH="1">
                <a:off x="3868401" y="2619360"/>
                <a:ext cx="2197597" cy="1619283"/>
              </a:xfrm>
              <a:prstGeom prst="homePlat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91440" tIns="45720" rIns="91440" bIns="45720" anchor="ctr" anchorCtr="0">
                <a:normAutofit/>
              </a:bodyPr>
              <a:lstStyle/>
              <a:p>
                <a:pPr lvl="0" algn="r" defTabSz="914378">
                  <a:spcBef>
                    <a:spcPct val="0"/>
                  </a:spcBef>
                  <a:defRPr/>
                </a:pPr>
                <a:r>
                  <a:rPr lang="en-US" altLang="zh-CN" sz="2000" b="1" dirty="0">
                    <a:solidFill>
                      <a:schemeClr val="bg1"/>
                    </a:solidFill>
                  </a:rPr>
                  <a:t>OS Kernel</a:t>
                </a:r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7" name="ïsļîdé">
              <a:extLst>
                <a:ext uri="{FF2B5EF4-FFF2-40B4-BE49-F238E27FC236}">
                  <a16:creationId xmlns:a16="http://schemas.microsoft.com/office/drawing/2014/main" id="{66D7FC41-2C22-4A9D-AF70-B3E56A8C5CEE}"/>
                </a:ext>
              </a:extLst>
            </p:cNvPr>
            <p:cNvGrpSpPr/>
            <p:nvPr/>
          </p:nvGrpSpPr>
          <p:grpSpPr>
            <a:xfrm>
              <a:off x="9471957" y="2255959"/>
              <a:ext cx="914400" cy="914400"/>
              <a:chOff x="9733216" y="2255959"/>
              <a:chExt cx="914400" cy="914400"/>
            </a:xfrm>
          </p:grpSpPr>
          <p:sp>
            <p:nvSpPr>
              <p:cNvPr id="15" name="íŝ1ïḍè">
                <a:extLst>
                  <a:ext uri="{FF2B5EF4-FFF2-40B4-BE49-F238E27FC236}">
                    <a16:creationId xmlns:a16="http://schemas.microsoft.com/office/drawing/2014/main" id="{B86B0062-0F46-4936-8B74-911F7A16EACD}"/>
                  </a:ext>
                </a:extLst>
              </p:cNvPr>
              <p:cNvSpPr/>
              <p:nvPr/>
            </p:nvSpPr>
            <p:spPr>
              <a:xfrm>
                <a:off x="9733216" y="2255959"/>
                <a:ext cx="914400" cy="914400"/>
              </a:xfrm>
              <a:prstGeom prst="ellipse">
                <a:avLst/>
              </a:prstGeom>
              <a:solidFill>
                <a:schemeClr val="accent1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16" name="iś1ïḋé">
                <a:extLst>
                  <a:ext uri="{FF2B5EF4-FFF2-40B4-BE49-F238E27FC236}">
                    <a16:creationId xmlns:a16="http://schemas.microsoft.com/office/drawing/2014/main" id="{DE2A92B7-5AAE-4865-9F6F-43F090E8BD62}"/>
                  </a:ext>
                </a:extLst>
              </p:cNvPr>
              <p:cNvSpPr/>
              <p:nvPr/>
            </p:nvSpPr>
            <p:spPr bwMode="auto">
              <a:xfrm>
                <a:off x="9961207" y="2519461"/>
                <a:ext cx="458418" cy="387396"/>
              </a:xfrm>
              <a:custGeom>
                <a:avLst/>
                <a:gdLst>
                  <a:gd name="connsiteX0" fmla="*/ 46038 w 338138"/>
                  <a:gd name="connsiteY0" fmla="*/ 261938 h 285751"/>
                  <a:gd name="connsiteX1" fmla="*/ 38100 w 338138"/>
                  <a:gd name="connsiteY1" fmla="*/ 270670 h 285751"/>
                  <a:gd name="connsiteX2" fmla="*/ 46038 w 338138"/>
                  <a:gd name="connsiteY2" fmla="*/ 279402 h 285751"/>
                  <a:gd name="connsiteX3" fmla="*/ 53976 w 338138"/>
                  <a:gd name="connsiteY3" fmla="*/ 270670 h 285751"/>
                  <a:gd name="connsiteX4" fmla="*/ 46038 w 338138"/>
                  <a:gd name="connsiteY4" fmla="*/ 261938 h 285751"/>
                  <a:gd name="connsiteX5" fmla="*/ 288131 w 338138"/>
                  <a:gd name="connsiteY5" fmla="*/ 184150 h 285751"/>
                  <a:gd name="connsiteX6" fmla="*/ 277812 w 338138"/>
                  <a:gd name="connsiteY6" fmla="*/ 194469 h 285751"/>
                  <a:gd name="connsiteX7" fmla="*/ 288131 w 338138"/>
                  <a:gd name="connsiteY7" fmla="*/ 204788 h 285751"/>
                  <a:gd name="connsiteX8" fmla="*/ 298450 w 338138"/>
                  <a:gd name="connsiteY8" fmla="*/ 194469 h 285751"/>
                  <a:gd name="connsiteX9" fmla="*/ 288131 w 338138"/>
                  <a:gd name="connsiteY9" fmla="*/ 184150 h 285751"/>
                  <a:gd name="connsiteX10" fmla="*/ 19050 w 338138"/>
                  <a:gd name="connsiteY10" fmla="*/ 165100 h 285751"/>
                  <a:gd name="connsiteX11" fmla="*/ 19050 w 338138"/>
                  <a:gd name="connsiteY11" fmla="*/ 242888 h 285751"/>
                  <a:gd name="connsiteX12" fmla="*/ 73025 w 338138"/>
                  <a:gd name="connsiteY12" fmla="*/ 242888 h 285751"/>
                  <a:gd name="connsiteX13" fmla="*/ 73025 w 338138"/>
                  <a:gd name="connsiteY13" fmla="*/ 165100 h 285751"/>
                  <a:gd name="connsiteX14" fmla="*/ 12010 w 338138"/>
                  <a:gd name="connsiteY14" fmla="*/ 141288 h 285751"/>
                  <a:gd name="connsiteX15" fmla="*/ 81400 w 338138"/>
                  <a:gd name="connsiteY15" fmla="*/ 141288 h 285751"/>
                  <a:gd name="connsiteX16" fmla="*/ 92075 w 338138"/>
                  <a:gd name="connsiteY16" fmla="*/ 153107 h 285751"/>
                  <a:gd name="connsiteX17" fmla="*/ 92075 w 338138"/>
                  <a:gd name="connsiteY17" fmla="*/ 273932 h 285751"/>
                  <a:gd name="connsiteX18" fmla="*/ 81400 w 338138"/>
                  <a:gd name="connsiteY18" fmla="*/ 285751 h 285751"/>
                  <a:gd name="connsiteX19" fmla="*/ 12010 w 338138"/>
                  <a:gd name="connsiteY19" fmla="*/ 285751 h 285751"/>
                  <a:gd name="connsiteX20" fmla="*/ 0 w 338138"/>
                  <a:gd name="connsiteY20" fmla="*/ 273932 h 285751"/>
                  <a:gd name="connsiteX21" fmla="*/ 0 w 338138"/>
                  <a:gd name="connsiteY21" fmla="*/ 153107 h 285751"/>
                  <a:gd name="connsiteX22" fmla="*/ 12010 w 338138"/>
                  <a:gd name="connsiteY22" fmla="*/ 141288 h 285751"/>
                  <a:gd name="connsiteX23" fmla="*/ 55002 w 338138"/>
                  <a:gd name="connsiteY23" fmla="*/ 82550 h 285751"/>
                  <a:gd name="connsiteX24" fmla="*/ 175185 w 338138"/>
                  <a:gd name="connsiteY24" fmla="*/ 82550 h 285751"/>
                  <a:gd name="connsiteX25" fmla="*/ 193675 w 338138"/>
                  <a:gd name="connsiteY25" fmla="*/ 99703 h 285751"/>
                  <a:gd name="connsiteX26" fmla="*/ 193675 w 338138"/>
                  <a:gd name="connsiteY26" fmla="*/ 268597 h 285751"/>
                  <a:gd name="connsiteX27" fmla="*/ 175185 w 338138"/>
                  <a:gd name="connsiteY27" fmla="*/ 285750 h 285751"/>
                  <a:gd name="connsiteX28" fmla="*/ 107830 w 338138"/>
                  <a:gd name="connsiteY28" fmla="*/ 285750 h 285751"/>
                  <a:gd name="connsiteX29" fmla="*/ 109151 w 338138"/>
                  <a:gd name="connsiteY29" fmla="*/ 276514 h 285751"/>
                  <a:gd name="connsiteX30" fmla="*/ 109151 w 338138"/>
                  <a:gd name="connsiteY30" fmla="*/ 273875 h 285751"/>
                  <a:gd name="connsiteX31" fmla="*/ 115754 w 338138"/>
                  <a:gd name="connsiteY31" fmla="*/ 275194 h 285751"/>
                  <a:gd name="connsiteX32" fmla="*/ 124999 w 338138"/>
                  <a:gd name="connsiteY32" fmla="*/ 264639 h 285751"/>
                  <a:gd name="connsiteX33" fmla="*/ 115754 w 338138"/>
                  <a:gd name="connsiteY33" fmla="*/ 254083 h 285751"/>
                  <a:gd name="connsiteX34" fmla="*/ 109151 w 338138"/>
                  <a:gd name="connsiteY34" fmla="*/ 256722 h 285751"/>
                  <a:gd name="connsiteX35" fmla="*/ 109151 w 338138"/>
                  <a:gd name="connsiteY35" fmla="*/ 235610 h 285751"/>
                  <a:gd name="connsiteX36" fmla="*/ 168582 w 338138"/>
                  <a:gd name="connsiteY36" fmla="*/ 235610 h 285751"/>
                  <a:gd name="connsiteX37" fmla="*/ 168582 w 338138"/>
                  <a:gd name="connsiteY37" fmla="*/ 110259 h 285751"/>
                  <a:gd name="connsiteX38" fmla="*/ 61606 w 338138"/>
                  <a:gd name="connsiteY38" fmla="*/ 110259 h 285751"/>
                  <a:gd name="connsiteX39" fmla="*/ 61606 w 338138"/>
                  <a:gd name="connsiteY39" fmla="*/ 126093 h 285751"/>
                  <a:gd name="connsiteX40" fmla="*/ 36512 w 338138"/>
                  <a:gd name="connsiteY40" fmla="*/ 126093 h 285751"/>
                  <a:gd name="connsiteX41" fmla="*/ 36512 w 338138"/>
                  <a:gd name="connsiteY41" fmla="*/ 99703 h 285751"/>
                  <a:gd name="connsiteX42" fmla="*/ 55002 w 338138"/>
                  <a:gd name="connsiteY42" fmla="*/ 82550 h 285751"/>
                  <a:gd name="connsiteX43" fmla="*/ 102729 w 338138"/>
                  <a:gd name="connsiteY43" fmla="*/ 0 h 285751"/>
                  <a:gd name="connsiteX44" fmla="*/ 305260 w 338138"/>
                  <a:gd name="connsiteY44" fmla="*/ 0 h 285751"/>
                  <a:gd name="connsiteX45" fmla="*/ 338138 w 338138"/>
                  <a:gd name="connsiteY45" fmla="*/ 34237 h 285751"/>
                  <a:gd name="connsiteX46" fmla="*/ 338138 w 338138"/>
                  <a:gd name="connsiteY46" fmla="*/ 188306 h 285751"/>
                  <a:gd name="connsiteX47" fmla="*/ 305260 w 338138"/>
                  <a:gd name="connsiteY47" fmla="*/ 221226 h 285751"/>
                  <a:gd name="connsiteX48" fmla="*/ 234242 w 338138"/>
                  <a:gd name="connsiteY48" fmla="*/ 221226 h 285751"/>
                  <a:gd name="connsiteX49" fmla="*/ 234242 w 338138"/>
                  <a:gd name="connsiteY49" fmla="*/ 243612 h 285751"/>
                  <a:gd name="connsiteX50" fmla="*/ 265806 w 338138"/>
                  <a:gd name="connsiteY50" fmla="*/ 243612 h 285751"/>
                  <a:gd name="connsiteX51" fmla="*/ 277642 w 338138"/>
                  <a:gd name="connsiteY51" fmla="*/ 256780 h 285751"/>
                  <a:gd name="connsiteX52" fmla="*/ 277642 w 338138"/>
                  <a:gd name="connsiteY52" fmla="*/ 272582 h 285751"/>
                  <a:gd name="connsiteX53" fmla="*/ 265806 w 338138"/>
                  <a:gd name="connsiteY53" fmla="*/ 285750 h 285751"/>
                  <a:gd name="connsiteX54" fmla="*/ 205309 w 338138"/>
                  <a:gd name="connsiteY54" fmla="*/ 285750 h 285751"/>
                  <a:gd name="connsiteX55" fmla="*/ 210570 w 338138"/>
                  <a:gd name="connsiteY55" fmla="*/ 269948 h 285751"/>
                  <a:gd name="connsiteX56" fmla="*/ 210570 w 338138"/>
                  <a:gd name="connsiteY56" fmla="*/ 213325 h 285751"/>
                  <a:gd name="connsiteX57" fmla="*/ 210570 w 338138"/>
                  <a:gd name="connsiteY57" fmla="*/ 172504 h 285751"/>
                  <a:gd name="connsiteX58" fmla="*/ 296054 w 338138"/>
                  <a:gd name="connsiteY58" fmla="*/ 172504 h 285751"/>
                  <a:gd name="connsiteX59" fmla="*/ 309205 w 338138"/>
                  <a:gd name="connsiteY59" fmla="*/ 159335 h 285751"/>
                  <a:gd name="connsiteX60" fmla="*/ 309205 w 338138"/>
                  <a:gd name="connsiteY60" fmla="*/ 39504 h 285751"/>
                  <a:gd name="connsiteX61" fmla="*/ 296054 w 338138"/>
                  <a:gd name="connsiteY61" fmla="*/ 27653 h 285751"/>
                  <a:gd name="connsiteX62" fmla="*/ 110620 w 338138"/>
                  <a:gd name="connsiteY62" fmla="*/ 27653 h 285751"/>
                  <a:gd name="connsiteX63" fmla="*/ 98783 w 338138"/>
                  <a:gd name="connsiteY63" fmla="*/ 39504 h 285751"/>
                  <a:gd name="connsiteX64" fmla="*/ 98783 w 338138"/>
                  <a:gd name="connsiteY64" fmla="*/ 65841 h 285751"/>
                  <a:gd name="connsiteX65" fmla="*/ 69850 w 338138"/>
                  <a:gd name="connsiteY65" fmla="*/ 65841 h 285751"/>
                  <a:gd name="connsiteX66" fmla="*/ 69850 w 338138"/>
                  <a:gd name="connsiteY66" fmla="*/ 34237 h 285751"/>
                  <a:gd name="connsiteX67" fmla="*/ 102729 w 338138"/>
                  <a:gd name="connsiteY67" fmla="*/ 0 h 285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338138" h="285751">
                    <a:moveTo>
                      <a:pt x="46038" y="261938"/>
                    </a:moveTo>
                    <a:cubicBezTo>
                      <a:pt x="41654" y="261938"/>
                      <a:pt x="38100" y="265847"/>
                      <a:pt x="38100" y="270670"/>
                    </a:cubicBezTo>
                    <a:cubicBezTo>
                      <a:pt x="38100" y="275493"/>
                      <a:pt x="41654" y="279402"/>
                      <a:pt x="46038" y="279402"/>
                    </a:cubicBezTo>
                    <a:cubicBezTo>
                      <a:pt x="50422" y="279402"/>
                      <a:pt x="53976" y="275493"/>
                      <a:pt x="53976" y="270670"/>
                    </a:cubicBezTo>
                    <a:cubicBezTo>
                      <a:pt x="53976" y="265847"/>
                      <a:pt x="50422" y="261938"/>
                      <a:pt x="46038" y="261938"/>
                    </a:cubicBezTo>
                    <a:close/>
                    <a:moveTo>
                      <a:pt x="288131" y="184150"/>
                    </a:moveTo>
                    <a:cubicBezTo>
                      <a:pt x="282432" y="184150"/>
                      <a:pt x="277812" y="188770"/>
                      <a:pt x="277812" y="194469"/>
                    </a:cubicBezTo>
                    <a:cubicBezTo>
                      <a:pt x="277812" y="200168"/>
                      <a:pt x="282432" y="204788"/>
                      <a:pt x="288131" y="204788"/>
                    </a:cubicBezTo>
                    <a:cubicBezTo>
                      <a:pt x="293830" y="204788"/>
                      <a:pt x="298450" y="200168"/>
                      <a:pt x="298450" y="194469"/>
                    </a:cubicBezTo>
                    <a:cubicBezTo>
                      <a:pt x="298450" y="188770"/>
                      <a:pt x="293830" y="184150"/>
                      <a:pt x="288131" y="184150"/>
                    </a:cubicBezTo>
                    <a:close/>
                    <a:moveTo>
                      <a:pt x="19050" y="165100"/>
                    </a:moveTo>
                    <a:lnTo>
                      <a:pt x="19050" y="242888"/>
                    </a:lnTo>
                    <a:lnTo>
                      <a:pt x="73025" y="242888"/>
                    </a:lnTo>
                    <a:lnTo>
                      <a:pt x="73025" y="165100"/>
                    </a:lnTo>
                    <a:close/>
                    <a:moveTo>
                      <a:pt x="12010" y="141288"/>
                    </a:moveTo>
                    <a:cubicBezTo>
                      <a:pt x="12010" y="141288"/>
                      <a:pt x="12010" y="141288"/>
                      <a:pt x="81400" y="141288"/>
                    </a:cubicBezTo>
                    <a:cubicBezTo>
                      <a:pt x="86738" y="141288"/>
                      <a:pt x="92075" y="146541"/>
                      <a:pt x="92075" y="153107"/>
                    </a:cubicBezTo>
                    <a:cubicBezTo>
                      <a:pt x="92075" y="153107"/>
                      <a:pt x="92075" y="153107"/>
                      <a:pt x="92075" y="273932"/>
                    </a:cubicBezTo>
                    <a:cubicBezTo>
                      <a:pt x="92075" y="280498"/>
                      <a:pt x="86738" y="285751"/>
                      <a:pt x="81400" y="285751"/>
                    </a:cubicBezTo>
                    <a:cubicBezTo>
                      <a:pt x="81400" y="285751"/>
                      <a:pt x="81400" y="285751"/>
                      <a:pt x="12010" y="285751"/>
                    </a:cubicBezTo>
                    <a:cubicBezTo>
                      <a:pt x="5337" y="285751"/>
                      <a:pt x="0" y="280498"/>
                      <a:pt x="0" y="273932"/>
                    </a:cubicBezTo>
                    <a:cubicBezTo>
                      <a:pt x="0" y="273932"/>
                      <a:pt x="0" y="273932"/>
                      <a:pt x="0" y="153107"/>
                    </a:cubicBezTo>
                    <a:cubicBezTo>
                      <a:pt x="0" y="146541"/>
                      <a:pt x="5337" y="141288"/>
                      <a:pt x="12010" y="141288"/>
                    </a:cubicBezTo>
                    <a:close/>
                    <a:moveTo>
                      <a:pt x="55002" y="82550"/>
                    </a:moveTo>
                    <a:cubicBezTo>
                      <a:pt x="55002" y="82550"/>
                      <a:pt x="55002" y="82550"/>
                      <a:pt x="175185" y="82550"/>
                    </a:cubicBezTo>
                    <a:cubicBezTo>
                      <a:pt x="185751" y="82550"/>
                      <a:pt x="193675" y="90467"/>
                      <a:pt x="193675" y="99703"/>
                    </a:cubicBezTo>
                    <a:cubicBezTo>
                      <a:pt x="193675" y="99703"/>
                      <a:pt x="193675" y="99703"/>
                      <a:pt x="193675" y="268597"/>
                    </a:cubicBezTo>
                    <a:cubicBezTo>
                      <a:pt x="193675" y="277833"/>
                      <a:pt x="185751" y="285750"/>
                      <a:pt x="175185" y="285750"/>
                    </a:cubicBezTo>
                    <a:cubicBezTo>
                      <a:pt x="175185" y="285750"/>
                      <a:pt x="175185" y="285750"/>
                      <a:pt x="107830" y="285750"/>
                    </a:cubicBezTo>
                    <a:cubicBezTo>
                      <a:pt x="109151" y="283111"/>
                      <a:pt x="109151" y="280472"/>
                      <a:pt x="109151" y="276514"/>
                    </a:cubicBezTo>
                    <a:cubicBezTo>
                      <a:pt x="109151" y="276514"/>
                      <a:pt x="109151" y="276514"/>
                      <a:pt x="109151" y="273875"/>
                    </a:cubicBezTo>
                    <a:cubicBezTo>
                      <a:pt x="110471" y="273875"/>
                      <a:pt x="113113" y="275194"/>
                      <a:pt x="115754" y="275194"/>
                    </a:cubicBezTo>
                    <a:cubicBezTo>
                      <a:pt x="121037" y="275194"/>
                      <a:pt x="124999" y="271236"/>
                      <a:pt x="124999" y="264639"/>
                    </a:cubicBezTo>
                    <a:cubicBezTo>
                      <a:pt x="124999" y="259361"/>
                      <a:pt x="121037" y="254083"/>
                      <a:pt x="115754" y="254083"/>
                    </a:cubicBezTo>
                    <a:cubicBezTo>
                      <a:pt x="113113" y="254083"/>
                      <a:pt x="110471" y="255402"/>
                      <a:pt x="109151" y="256722"/>
                    </a:cubicBezTo>
                    <a:cubicBezTo>
                      <a:pt x="109151" y="256722"/>
                      <a:pt x="109151" y="256722"/>
                      <a:pt x="109151" y="235610"/>
                    </a:cubicBezTo>
                    <a:cubicBezTo>
                      <a:pt x="109151" y="235610"/>
                      <a:pt x="109151" y="235610"/>
                      <a:pt x="168582" y="235610"/>
                    </a:cubicBezTo>
                    <a:cubicBezTo>
                      <a:pt x="168582" y="235610"/>
                      <a:pt x="168582" y="235610"/>
                      <a:pt x="168582" y="110259"/>
                    </a:cubicBezTo>
                    <a:cubicBezTo>
                      <a:pt x="168582" y="110259"/>
                      <a:pt x="168582" y="110259"/>
                      <a:pt x="61606" y="110259"/>
                    </a:cubicBezTo>
                    <a:cubicBezTo>
                      <a:pt x="61606" y="110259"/>
                      <a:pt x="61606" y="110259"/>
                      <a:pt x="61606" y="126093"/>
                    </a:cubicBezTo>
                    <a:cubicBezTo>
                      <a:pt x="61606" y="126093"/>
                      <a:pt x="61606" y="126093"/>
                      <a:pt x="36512" y="126093"/>
                    </a:cubicBezTo>
                    <a:cubicBezTo>
                      <a:pt x="36512" y="126093"/>
                      <a:pt x="36512" y="126093"/>
                      <a:pt x="36512" y="99703"/>
                    </a:cubicBezTo>
                    <a:cubicBezTo>
                      <a:pt x="36512" y="90467"/>
                      <a:pt x="45757" y="82550"/>
                      <a:pt x="55002" y="82550"/>
                    </a:cubicBezTo>
                    <a:close/>
                    <a:moveTo>
                      <a:pt x="102729" y="0"/>
                    </a:moveTo>
                    <a:cubicBezTo>
                      <a:pt x="102729" y="0"/>
                      <a:pt x="102729" y="0"/>
                      <a:pt x="305260" y="0"/>
                    </a:cubicBezTo>
                    <a:cubicBezTo>
                      <a:pt x="323672" y="0"/>
                      <a:pt x="338138" y="15802"/>
                      <a:pt x="338138" y="34237"/>
                    </a:cubicBezTo>
                    <a:cubicBezTo>
                      <a:pt x="338138" y="34237"/>
                      <a:pt x="338138" y="34237"/>
                      <a:pt x="338138" y="188306"/>
                    </a:cubicBezTo>
                    <a:cubicBezTo>
                      <a:pt x="338138" y="206741"/>
                      <a:pt x="323672" y="221226"/>
                      <a:pt x="305260" y="221226"/>
                    </a:cubicBezTo>
                    <a:cubicBezTo>
                      <a:pt x="305260" y="221226"/>
                      <a:pt x="305260" y="221226"/>
                      <a:pt x="234242" y="221226"/>
                    </a:cubicBezTo>
                    <a:cubicBezTo>
                      <a:pt x="234242" y="221226"/>
                      <a:pt x="234242" y="221226"/>
                      <a:pt x="234242" y="243612"/>
                    </a:cubicBezTo>
                    <a:cubicBezTo>
                      <a:pt x="234242" y="243612"/>
                      <a:pt x="234242" y="243612"/>
                      <a:pt x="265806" y="243612"/>
                    </a:cubicBezTo>
                    <a:cubicBezTo>
                      <a:pt x="272381" y="243612"/>
                      <a:pt x="277642" y="250196"/>
                      <a:pt x="277642" y="256780"/>
                    </a:cubicBezTo>
                    <a:cubicBezTo>
                      <a:pt x="277642" y="256780"/>
                      <a:pt x="277642" y="256780"/>
                      <a:pt x="277642" y="272582"/>
                    </a:cubicBezTo>
                    <a:cubicBezTo>
                      <a:pt x="277642" y="280483"/>
                      <a:pt x="272381" y="285750"/>
                      <a:pt x="265806" y="285750"/>
                    </a:cubicBezTo>
                    <a:cubicBezTo>
                      <a:pt x="265806" y="285750"/>
                      <a:pt x="265806" y="285750"/>
                      <a:pt x="205309" y="285750"/>
                    </a:cubicBezTo>
                    <a:cubicBezTo>
                      <a:pt x="207940" y="280483"/>
                      <a:pt x="209255" y="275216"/>
                      <a:pt x="210570" y="269948"/>
                    </a:cubicBezTo>
                    <a:cubicBezTo>
                      <a:pt x="210570" y="268632"/>
                      <a:pt x="210570" y="213325"/>
                      <a:pt x="210570" y="213325"/>
                    </a:cubicBezTo>
                    <a:cubicBezTo>
                      <a:pt x="210570" y="213325"/>
                      <a:pt x="210570" y="213325"/>
                      <a:pt x="210570" y="172504"/>
                    </a:cubicBezTo>
                    <a:cubicBezTo>
                      <a:pt x="210570" y="172504"/>
                      <a:pt x="210570" y="172504"/>
                      <a:pt x="296054" y="172504"/>
                    </a:cubicBezTo>
                    <a:cubicBezTo>
                      <a:pt x="303945" y="172504"/>
                      <a:pt x="309205" y="165920"/>
                      <a:pt x="309205" y="159335"/>
                    </a:cubicBezTo>
                    <a:cubicBezTo>
                      <a:pt x="309205" y="159335"/>
                      <a:pt x="309205" y="159335"/>
                      <a:pt x="309205" y="39504"/>
                    </a:cubicBezTo>
                    <a:cubicBezTo>
                      <a:pt x="309205" y="32920"/>
                      <a:pt x="303945" y="27653"/>
                      <a:pt x="296054" y="27653"/>
                    </a:cubicBezTo>
                    <a:cubicBezTo>
                      <a:pt x="296054" y="27653"/>
                      <a:pt x="296054" y="27653"/>
                      <a:pt x="110620" y="27653"/>
                    </a:cubicBezTo>
                    <a:cubicBezTo>
                      <a:pt x="104044" y="27653"/>
                      <a:pt x="98783" y="32920"/>
                      <a:pt x="98783" y="39504"/>
                    </a:cubicBezTo>
                    <a:cubicBezTo>
                      <a:pt x="98783" y="39504"/>
                      <a:pt x="98783" y="39504"/>
                      <a:pt x="98783" y="65841"/>
                    </a:cubicBezTo>
                    <a:cubicBezTo>
                      <a:pt x="98783" y="65841"/>
                      <a:pt x="98783" y="65841"/>
                      <a:pt x="69850" y="65841"/>
                    </a:cubicBezTo>
                    <a:cubicBezTo>
                      <a:pt x="69850" y="65841"/>
                      <a:pt x="69850" y="65841"/>
                      <a:pt x="69850" y="34237"/>
                    </a:cubicBezTo>
                    <a:cubicBezTo>
                      <a:pt x="69850" y="15802"/>
                      <a:pt x="84317" y="0"/>
                      <a:pt x="10272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</p:grpSp>
        <p:grpSp>
          <p:nvGrpSpPr>
            <p:cNvPr id="8" name="íṡľïḑé">
              <a:extLst>
                <a:ext uri="{FF2B5EF4-FFF2-40B4-BE49-F238E27FC236}">
                  <a16:creationId xmlns:a16="http://schemas.microsoft.com/office/drawing/2014/main" id="{F2FFBDEC-9EC5-4826-A087-23B7485E0F49}"/>
                </a:ext>
              </a:extLst>
            </p:cNvPr>
            <p:cNvGrpSpPr/>
            <p:nvPr/>
          </p:nvGrpSpPr>
          <p:grpSpPr>
            <a:xfrm>
              <a:off x="1811962" y="2255959"/>
              <a:ext cx="914400" cy="914400"/>
              <a:chOff x="1970341" y="2255959"/>
              <a:chExt cx="914400" cy="914400"/>
            </a:xfrm>
          </p:grpSpPr>
          <p:sp>
            <p:nvSpPr>
              <p:cNvPr id="13" name="îsḷiďe">
                <a:extLst>
                  <a:ext uri="{FF2B5EF4-FFF2-40B4-BE49-F238E27FC236}">
                    <a16:creationId xmlns:a16="http://schemas.microsoft.com/office/drawing/2014/main" id="{314C4DEC-A868-48BB-B4FA-151F73791D1D}"/>
                  </a:ext>
                </a:extLst>
              </p:cNvPr>
              <p:cNvSpPr/>
              <p:nvPr/>
            </p:nvSpPr>
            <p:spPr>
              <a:xfrm>
                <a:off x="1970341" y="2255959"/>
                <a:ext cx="914400" cy="91440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14" name="ïS1idé">
                <a:extLst>
                  <a:ext uri="{FF2B5EF4-FFF2-40B4-BE49-F238E27FC236}">
                    <a16:creationId xmlns:a16="http://schemas.microsoft.com/office/drawing/2014/main" id="{41326A89-E093-4AE2-99C5-2DE53A883C14}"/>
                  </a:ext>
                </a:extLst>
              </p:cNvPr>
              <p:cNvSpPr/>
              <p:nvPr/>
            </p:nvSpPr>
            <p:spPr bwMode="auto">
              <a:xfrm>
                <a:off x="2216060" y="2473406"/>
                <a:ext cx="422961" cy="479506"/>
              </a:xfrm>
              <a:custGeom>
                <a:avLst/>
                <a:gdLst>
                  <a:gd name="connsiteX0" fmla="*/ 99685 w 296863"/>
                  <a:gd name="connsiteY0" fmla="*/ 290512 h 336550"/>
                  <a:gd name="connsiteX1" fmla="*/ 90488 w 296863"/>
                  <a:gd name="connsiteY1" fmla="*/ 299244 h 336550"/>
                  <a:gd name="connsiteX2" fmla="*/ 99685 w 296863"/>
                  <a:gd name="connsiteY2" fmla="*/ 307975 h 336550"/>
                  <a:gd name="connsiteX3" fmla="*/ 119392 w 296863"/>
                  <a:gd name="connsiteY3" fmla="*/ 307975 h 336550"/>
                  <a:gd name="connsiteX4" fmla="*/ 128588 w 296863"/>
                  <a:gd name="connsiteY4" fmla="*/ 299244 h 336550"/>
                  <a:gd name="connsiteX5" fmla="*/ 119392 w 296863"/>
                  <a:gd name="connsiteY5" fmla="*/ 290512 h 336550"/>
                  <a:gd name="connsiteX6" fmla="*/ 99685 w 296863"/>
                  <a:gd name="connsiteY6" fmla="*/ 290512 h 336550"/>
                  <a:gd name="connsiteX7" fmla="*/ 0 w 296863"/>
                  <a:gd name="connsiteY7" fmla="*/ 277812 h 336550"/>
                  <a:gd name="connsiteX8" fmla="*/ 219075 w 296863"/>
                  <a:gd name="connsiteY8" fmla="*/ 277812 h 336550"/>
                  <a:gd name="connsiteX9" fmla="*/ 219075 w 296863"/>
                  <a:gd name="connsiteY9" fmla="*/ 324803 h 336550"/>
                  <a:gd name="connsiteX10" fmla="*/ 208517 w 296863"/>
                  <a:gd name="connsiteY10" fmla="*/ 336550 h 336550"/>
                  <a:gd name="connsiteX11" fmla="*/ 11877 w 296863"/>
                  <a:gd name="connsiteY11" fmla="*/ 336550 h 336550"/>
                  <a:gd name="connsiteX12" fmla="*/ 0 w 296863"/>
                  <a:gd name="connsiteY12" fmla="*/ 324803 h 336550"/>
                  <a:gd name="connsiteX13" fmla="*/ 0 w 296863"/>
                  <a:gd name="connsiteY13" fmla="*/ 277812 h 336550"/>
                  <a:gd name="connsiteX14" fmla="*/ 120721 w 296863"/>
                  <a:gd name="connsiteY14" fmla="*/ 42862 h 336550"/>
                  <a:gd name="connsiteX15" fmla="*/ 266630 w 296863"/>
                  <a:gd name="connsiteY15" fmla="*/ 42862 h 336550"/>
                  <a:gd name="connsiteX16" fmla="*/ 296863 w 296863"/>
                  <a:gd name="connsiteY16" fmla="*/ 71747 h 336550"/>
                  <a:gd name="connsiteX17" fmla="*/ 296863 w 296863"/>
                  <a:gd name="connsiteY17" fmla="*/ 151838 h 336550"/>
                  <a:gd name="connsiteX18" fmla="*/ 266630 w 296863"/>
                  <a:gd name="connsiteY18" fmla="*/ 182037 h 336550"/>
                  <a:gd name="connsiteX19" fmla="*/ 189075 w 296863"/>
                  <a:gd name="connsiteY19" fmla="*/ 182037 h 336550"/>
                  <a:gd name="connsiteX20" fmla="*/ 156213 w 296863"/>
                  <a:gd name="connsiteY20" fmla="*/ 214861 h 336550"/>
                  <a:gd name="connsiteX21" fmla="*/ 148326 w 296863"/>
                  <a:gd name="connsiteY21" fmla="*/ 217487 h 336550"/>
                  <a:gd name="connsiteX22" fmla="*/ 143068 w 296863"/>
                  <a:gd name="connsiteY22" fmla="*/ 217487 h 336550"/>
                  <a:gd name="connsiteX23" fmla="*/ 136495 w 296863"/>
                  <a:gd name="connsiteY23" fmla="*/ 206983 h 336550"/>
                  <a:gd name="connsiteX24" fmla="*/ 136495 w 296863"/>
                  <a:gd name="connsiteY24" fmla="*/ 182037 h 336550"/>
                  <a:gd name="connsiteX25" fmla="*/ 120721 w 296863"/>
                  <a:gd name="connsiteY25" fmla="*/ 182037 h 336550"/>
                  <a:gd name="connsiteX26" fmla="*/ 90488 w 296863"/>
                  <a:gd name="connsiteY26" fmla="*/ 151838 h 336550"/>
                  <a:gd name="connsiteX27" fmla="*/ 90488 w 296863"/>
                  <a:gd name="connsiteY27" fmla="*/ 71747 h 336550"/>
                  <a:gd name="connsiteX28" fmla="*/ 120721 w 296863"/>
                  <a:gd name="connsiteY28" fmla="*/ 42862 h 336550"/>
                  <a:gd name="connsiteX29" fmla="*/ 11877 w 296863"/>
                  <a:gd name="connsiteY29" fmla="*/ 0 h 336550"/>
                  <a:gd name="connsiteX30" fmla="*/ 208517 w 296863"/>
                  <a:gd name="connsiteY30" fmla="*/ 0 h 336550"/>
                  <a:gd name="connsiteX31" fmla="*/ 219075 w 296863"/>
                  <a:gd name="connsiteY31" fmla="*/ 11821 h 336550"/>
                  <a:gd name="connsiteX32" fmla="*/ 219075 w 296863"/>
                  <a:gd name="connsiteY32" fmla="*/ 24957 h 336550"/>
                  <a:gd name="connsiteX33" fmla="*/ 121415 w 296863"/>
                  <a:gd name="connsiteY33" fmla="*/ 24957 h 336550"/>
                  <a:gd name="connsiteX34" fmla="*/ 72585 w 296863"/>
                  <a:gd name="connsiteY34" fmla="*/ 72243 h 336550"/>
                  <a:gd name="connsiteX35" fmla="*/ 72585 w 296863"/>
                  <a:gd name="connsiteY35" fmla="*/ 152368 h 336550"/>
                  <a:gd name="connsiteX36" fmla="*/ 118776 w 296863"/>
                  <a:gd name="connsiteY36" fmla="*/ 200968 h 336550"/>
                  <a:gd name="connsiteX37" fmla="*/ 118776 w 296863"/>
                  <a:gd name="connsiteY37" fmla="*/ 207536 h 336550"/>
                  <a:gd name="connsiteX38" fmla="*/ 137252 w 296863"/>
                  <a:gd name="connsiteY38" fmla="*/ 233806 h 336550"/>
                  <a:gd name="connsiteX39" fmla="*/ 149130 w 296863"/>
                  <a:gd name="connsiteY39" fmla="*/ 236433 h 336550"/>
                  <a:gd name="connsiteX40" fmla="*/ 170245 w 296863"/>
                  <a:gd name="connsiteY40" fmla="*/ 228552 h 336550"/>
                  <a:gd name="connsiteX41" fmla="*/ 196640 w 296863"/>
                  <a:gd name="connsiteY41" fmla="*/ 200968 h 336550"/>
                  <a:gd name="connsiteX42" fmla="*/ 219075 w 296863"/>
                  <a:gd name="connsiteY42" fmla="*/ 200968 h 336550"/>
                  <a:gd name="connsiteX43" fmla="*/ 219075 w 296863"/>
                  <a:gd name="connsiteY43" fmla="*/ 258763 h 336550"/>
                  <a:gd name="connsiteX44" fmla="*/ 0 w 296863"/>
                  <a:gd name="connsiteY44" fmla="*/ 258763 h 336550"/>
                  <a:gd name="connsiteX45" fmla="*/ 0 w 296863"/>
                  <a:gd name="connsiteY45" fmla="*/ 11821 h 336550"/>
                  <a:gd name="connsiteX46" fmla="*/ 11877 w 296863"/>
                  <a:gd name="connsiteY46" fmla="*/ 0 h 336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296863" h="336550">
                    <a:moveTo>
                      <a:pt x="99685" y="290512"/>
                    </a:moveTo>
                    <a:cubicBezTo>
                      <a:pt x="94430" y="290512"/>
                      <a:pt x="90488" y="294254"/>
                      <a:pt x="90488" y="299244"/>
                    </a:cubicBezTo>
                    <a:cubicBezTo>
                      <a:pt x="90488" y="304233"/>
                      <a:pt x="94430" y="307975"/>
                      <a:pt x="99685" y="307975"/>
                    </a:cubicBezTo>
                    <a:cubicBezTo>
                      <a:pt x="99685" y="307975"/>
                      <a:pt x="99685" y="307975"/>
                      <a:pt x="119392" y="307975"/>
                    </a:cubicBezTo>
                    <a:cubicBezTo>
                      <a:pt x="124647" y="307975"/>
                      <a:pt x="128588" y="304233"/>
                      <a:pt x="128588" y="299244"/>
                    </a:cubicBezTo>
                    <a:cubicBezTo>
                      <a:pt x="128588" y="294254"/>
                      <a:pt x="124647" y="290512"/>
                      <a:pt x="119392" y="290512"/>
                    </a:cubicBezTo>
                    <a:cubicBezTo>
                      <a:pt x="119392" y="290512"/>
                      <a:pt x="119392" y="290512"/>
                      <a:pt x="99685" y="290512"/>
                    </a:cubicBezTo>
                    <a:close/>
                    <a:moveTo>
                      <a:pt x="0" y="277812"/>
                    </a:moveTo>
                    <a:lnTo>
                      <a:pt x="219075" y="277812"/>
                    </a:lnTo>
                    <a:cubicBezTo>
                      <a:pt x="219075" y="277812"/>
                      <a:pt x="219075" y="277812"/>
                      <a:pt x="219075" y="324803"/>
                    </a:cubicBezTo>
                    <a:cubicBezTo>
                      <a:pt x="219075" y="331329"/>
                      <a:pt x="213796" y="336550"/>
                      <a:pt x="208517" y="336550"/>
                    </a:cubicBezTo>
                    <a:cubicBezTo>
                      <a:pt x="208517" y="336550"/>
                      <a:pt x="208517" y="336550"/>
                      <a:pt x="11877" y="336550"/>
                    </a:cubicBezTo>
                    <a:cubicBezTo>
                      <a:pt x="5279" y="336550"/>
                      <a:pt x="0" y="331329"/>
                      <a:pt x="0" y="324803"/>
                    </a:cubicBezTo>
                    <a:cubicBezTo>
                      <a:pt x="0" y="324803"/>
                      <a:pt x="0" y="324803"/>
                      <a:pt x="0" y="277812"/>
                    </a:cubicBezTo>
                    <a:close/>
                    <a:moveTo>
                      <a:pt x="120721" y="42862"/>
                    </a:moveTo>
                    <a:cubicBezTo>
                      <a:pt x="120721" y="42862"/>
                      <a:pt x="120721" y="42862"/>
                      <a:pt x="266630" y="42862"/>
                    </a:cubicBezTo>
                    <a:cubicBezTo>
                      <a:pt x="283718" y="42862"/>
                      <a:pt x="296863" y="55991"/>
                      <a:pt x="296863" y="71747"/>
                    </a:cubicBezTo>
                    <a:cubicBezTo>
                      <a:pt x="296863" y="71747"/>
                      <a:pt x="296863" y="71747"/>
                      <a:pt x="296863" y="151838"/>
                    </a:cubicBezTo>
                    <a:cubicBezTo>
                      <a:pt x="296863" y="168907"/>
                      <a:pt x="283718" y="182037"/>
                      <a:pt x="266630" y="182037"/>
                    </a:cubicBezTo>
                    <a:cubicBezTo>
                      <a:pt x="266630" y="182037"/>
                      <a:pt x="266630" y="182037"/>
                      <a:pt x="189075" y="182037"/>
                    </a:cubicBezTo>
                    <a:cubicBezTo>
                      <a:pt x="189075" y="182037"/>
                      <a:pt x="189075" y="182037"/>
                      <a:pt x="156213" y="214861"/>
                    </a:cubicBezTo>
                    <a:cubicBezTo>
                      <a:pt x="153584" y="216174"/>
                      <a:pt x="150955" y="217487"/>
                      <a:pt x="148326" y="217487"/>
                    </a:cubicBezTo>
                    <a:cubicBezTo>
                      <a:pt x="147011" y="217487"/>
                      <a:pt x="144382" y="217487"/>
                      <a:pt x="143068" y="217487"/>
                    </a:cubicBezTo>
                    <a:cubicBezTo>
                      <a:pt x="139124" y="214861"/>
                      <a:pt x="136495" y="210922"/>
                      <a:pt x="136495" y="206983"/>
                    </a:cubicBezTo>
                    <a:cubicBezTo>
                      <a:pt x="136495" y="206983"/>
                      <a:pt x="136495" y="206983"/>
                      <a:pt x="136495" y="182037"/>
                    </a:cubicBezTo>
                    <a:cubicBezTo>
                      <a:pt x="136495" y="182037"/>
                      <a:pt x="136495" y="182037"/>
                      <a:pt x="120721" y="182037"/>
                    </a:cubicBezTo>
                    <a:cubicBezTo>
                      <a:pt x="103633" y="182037"/>
                      <a:pt x="90488" y="168907"/>
                      <a:pt x="90488" y="151838"/>
                    </a:cubicBezTo>
                    <a:cubicBezTo>
                      <a:pt x="90488" y="151838"/>
                      <a:pt x="90488" y="151838"/>
                      <a:pt x="90488" y="71747"/>
                    </a:cubicBezTo>
                    <a:cubicBezTo>
                      <a:pt x="90488" y="55991"/>
                      <a:pt x="103633" y="42862"/>
                      <a:pt x="120721" y="42862"/>
                    </a:cubicBezTo>
                    <a:close/>
                    <a:moveTo>
                      <a:pt x="11877" y="0"/>
                    </a:moveTo>
                    <a:cubicBezTo>
                      <a:pt x="11877" y="0"/>
                      <a:pt x="11877" y="0"/>
                      <a:pt x="208517" y="0"/>
                    </a:cubicBezTo>
                    <a:cubicBezTo>
                      <a:pt x="213796" y="0"/>
                      <a:pt x="219075" y="5254"/>
                      <a:pt x="219075" y="11821"/>
                    </a:cubicBezTo>
                    <a:cubicBezTo>
                      <a:pt x="219075" y="11821"/>
                      <a:pt x="219075" y="11821"/>
                      <a:pt x="219075" y="24957"/>
                    </a:cubicBezTo>
                    <a:cubicBezTo>
                      <a:pt x="219075" y="24957"/>
                      <a:pt x="219075" y="24957"/>
                      <a:pt x="121415" y="24957"/>
                    </a:cubicBezTo>
                    <a:cubicBezTo>
                      <a:pt x="95021" y="24957"/>
                      <a:pt x="72585" y="45973"/>
                      <a:pt x="72585" y="72243"/>
                    </a:cubicBezTo>
                    <a:cubicBezTo>
                      <a:pt x="72585" y="72243"/>
                      <a:pt x="72585" y="72243"/>
                      <a:pt x="72585" y="152368"/>
                    </a:cubicBezTo>
                    <a:cubicBezTo>
                      <a:pt x="72585" y="178638"/>
                      <a:pt x="93701" y="199654"/>
                      <a:pt x="118776" y="200968"/>
                    </a:cubicBezTo>
                    <a:cubicBezTo>
                      <a:pt x="118776" y="200968"/>
                      <a:pt x="118776" y="200968"/>
                      <a:pt x="118776" y="207536"/>
                    </a:cubicBezTo>
                    <a:cubicBezTo>
                      <a:pt x="118776" y="219357"/>
                      <a:pt x="126694" y="229865"/>
                      <a:pt x="137252" y="233806"/>
                    </a:cubicBezTo>
                    <a:cubicBezTo>
                      <a:pt x="141211" y="236433"/>
                      <a:pt x="145170" y="236433"/>
                      <a:pt x="149130" y="236433"/>
                    </a:cubicBezTo>
                    <a:cubicBezTo>
                      <a:pt x="157048" y="236433"/>
                      <a:pt x="163647" y="233806"/>
                      <a:pt x="170245" y="228552"/>
                    </a:cubicBezTo>
                    <a:cubicBezTo>
                      <a:pt x="170245" y="228552"/>
                      <a:pt x="170245" y="228552"/>
                      <a:pt x="196640" y="200968"/>
                    </a:cubicBezTo>
                    <a:cubicBezTo>
                      <a:pt x="196640" y="200968"/>
                      <a:pt x="196640" y="200968"/>
                      <a:pt x="219075" y="200968"/>
                    </a:cubicBezTo>
                    <a:cubicBezTo>
                      <a:pt x="219075" y="200968"/>
                      <a:pt x="219075" y="200968"/>
                      <a:pt x="219075" y="258763"/>
                    </a:cubicBezTo>
                    <a:lnTo>
                      <a:pt x="0" y="258763"/>
                    </a:lnTo>
                    <a:cubicBezTo>
                      <a:pt x="0" y="258763"/>
                      <a:pt x="0" y="258763"/>
                      <a:pt x="0" y="11821"/>
                    </a:cubicBezTo>
                    <a:cubicBezTo>
                      <a:pt x="0" y="5254"/>
                      <a:pt x="5279" y="0"/>
                      <a:pt x="1187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</p:grpSp>
        <p:sp>
          <p:nvSpPr>
            <p:cNvPr id="9" name="ïṧḻïḓe">
              <a:extLst>
                <a:ext uri="{FF2B5EF4-FFF2-40B4-BE49-F238E27FC236}">
                  <a16:creationId xmlns:a16="http://schemas.microsoft.com/office/drawing/2014/main" id="{E7A6697C-1D6F-4A8A-93CC-A1440E1AD2EB}"/>
                </a:ext>
              </a:extLst>
            </p:cNvPr>
            <p:cNvSpPr/>
            <p:nvPr/>
          </p:nvSpPr>
          <p:spPr bwMode="auto">
            <a:xfrm>
              <a:off x="669925" y="3829612"/>
              <a:ext cx="3198474" cy="555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 err="1"/>
                <a:t>i.g</a:t>
              </a:r>
              <a:r>
                <a:rPr lang="en-US" altLang="zh-CN" sz="1100" dirty="0"/>
                <a:t>: Linux kernel, NT kernel.</a:t>
              </a:r>
            </a:p>
          </p:txBody>
        </p:sp>
        <p:sp>
          <p:nvSpPr>
            <p:cNvPr id="10" name="iṧḻîḑé">
              <a:extLst>
                <a:ext uri="{FF2B5EF4-FFF2-40B4-BE49-F238E27FC236}">
                  <a16:creationId xmlns:a16="http://schemas.microsoft.com/office/drawing/2014/main" id="{DDED9EBF-EFC1-4162-A9D9-0EFDB5B3B830}"/>
                </a:ext>
              </a:extLst>
            </p:cNvPr>
            <p:cNvSpPr txBox="1"/>
            <p:nvPr/>
          </p:nvSpPr>
          <p:spPr bwMode="auto">
            <a:xfrm>
              <a:off x="669925" y="3387806"/>
              <a:ext cx="3198475" cy="433080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 fontScale="70000" lnSpcReduction="2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000" b="1" dirty="0"/>
                <a:t>Maintain the system and work for users.</a:t>
              </a:r>
            </a:p>
          </p:txBody>
        </p:sp>
        <p:sp>
          <p:nvSpPr>
            <p:cNvPr id="11" name="işliḍé">
              <a:extLst>
                <a:ext uri="{FF2B5EF4-FFF2-40B4-BE49-F238E27FC236}">
                  <a16:creationId xmlns:a16="http://schemas.microsoft.com/office/drawing/2014/main" id="{E7A6697C-1D6F-4A8A-93CC-A1440E1AD2EB}"/>
                </a:ext>
              </a:extLst>
            </p:cNvPr>
            <p:cNvSpPr/>
            <p:nvPr/>
          </p:nvSpPr>
          <p:spPr bwMode="auto">
            <a:xfrm>
              <a:off x="8345351" y="3820886"/>
              <a:ext cx="3175136" cy="5643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Shell, Windows </a:t>
              </a:r>
              <a:r>
                <a:rPr lang="en-US" altLang="zh-CN" sz="1100" dirty="0" err="1"/>
                <a:t>cmd</a:t>
              </a:r>
              <a:r>
                <a:rPr lang="en-US" altLang="zh-CN" sz="1100" dirty="0"/>
                <a:t>…</a:t>
              </a:r>
            </a:p>
          </p:txBody>
        </p:sp>
        <p:sp>
          <p:nvSpPr>
            <p:cNvPr id="12" name="iṣḷïḓe">
              <a:extLst>
                <a:ext uri="{FF2B5EF4-FFF2-40B4-BE49-F238E27FC236}">
                  <a16:creationId xmlns:a16="http://schemas.microsoft.com/office/drawing/2014/main" id="{DDED9EBF-EFC1-4162-A9D9-0EFDB5B3B830}"/>
                </a:ext>
              </a:extLst>
            </p:cNvPr>
            <p:cNvSpPr txBox="1"/>
            <p:nvPr/>
          </p:nvSpPr>
          <p:spPr bwMode="auto">
            <a:xfrm>
              <a:off x="8345351" y="3381004"/>
              <a:ext cx="3175137" cy="43988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 fontScale="925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000" b="1" dirty="0"/>
                <a:t>Bridge between u and OS</a:t>
              </a:r>
            </a:p>
          </p:txBody>
        </p:sp>
      </p:grpSp>
      <p:sp>
        <p:nvSpPr>
          <p:cNvPr id="21" name="矩形 20">
            <a:extLst>
              <a:ext uri="{FF2B5EF4-FFF2-40B4-BE49-F238E27FC236}">
                <a16:creationId xmlns:a16="http://schemas.microsoft.com/office/drawing/2014/main" id="{69B02137-A43E-4E5C-BA5F-0CB7037DE840}"/>
              </a:ext>
            </a:extLst>
          </p:cNvPr>
          <p:cNvSpPr/>
          <p:nvPr/>
        </p:nvSpPr>
        <p:spPr>
          <a:xfrm>
            <a:off x="179465" y="1267519"/>
            <a:ext cx="5915740" cy="5179325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42A0FA7C-E79B-4741-8AB4-034FF9AD49A3}"/>
              </a:ext>
            </a:extLst>
          </p:cNvPr>
          <p:cNvSpPr txBox="1"/>
          <p:nvPr/>
        </p:nvSpPr>
        <p:spPr>
          <a:xfrm>
            <a:off x="669924" y="4632414"/>
            <a:ext cx="52941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solidFill>
                  <a:schemeClr val="accent3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If you want to write </a:t>
            </a:r>
            <a:r>
              <a:rPr lang="en-US" altLang="zh-CN" sz="2400" b="1" dirty="0" err="1">
                <a:solidFill>
                  <a:schemeClr val="accent3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ur</a:t>
            </a:r>
            <a:r>
              <a:rPr lang="en-US" altLang="zh-CN" sz="2400" b="1" dirty="0">
                <a:solidFill>
                  <a:schemeClr val="accent3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 own OS or make some low level optimizations.</a:t>
            </a:r>
            <a:endParaRPr lang="zh-CN" altLang="en-US" sz="2400" b="1" dirty="0">
              <a:solidFill>
                <a:schemeClr val="accent3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onstantia" panose="02030602050306030303" pitchFamily="18" charset="0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833AC1BC-D0AD-4989-8B67-855C4E614D01}"/>
              </a:ext>
            </a:extLst>
          </p:cNvPr>
          <p:cNvSpPr txBox="1"/>
          <p:nvPr/>
        </p:nvSpPr>
        <p:spPr>
          <a:xfrm>
            <a:off x="6292028" y="4570141"/>
            <a:ext cx="41695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chemeClr val="accent3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Now, we just want to use it. SO we need to learn some </a:t>
            </a:r>
            <a:r>
              <a:rPr lang="en-US" altLang="zh-CN" b="1" dirty="0">
                <a:solidFill>
                  <a:schemeClr val="accent3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SHELL</a:t>
            </a:r>
            <a:r>
              <a:rPr lang="en-US" altLang="zh-CN" b="1" dirty="0">
                <a:solidFill>
                  <a:schemeClr val="accent3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 stuff,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15978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029 0.02176 L 0.01029 0.02176 C 0.01055 0.01805 0.01081 0.01435 0.01133 0.01065 C 0.0125 0.00324 0.01276 0.00509 0.01472 -0.00023 C 0.01628 -0.0044 0.01771 -0.0088 0.01914 -0.0132 C 0.02031 -0.01644 0.02266 -0.02384 0.0237 -0.02616 C 0.02669 -0.03333 0.02904 -0.04167 0.03255 -0.04792 C 0.03386 -0.05023 0.03529 -0.05255 0.03659 -0.05486 C 0.04401 -0.0706 0.03998 -0.06621 0.04935 -0.07986 C 0.05065 -0.08171 0.06758 -0.10417 0.07123 -0.10857 C 0.07344 -0.11134 0.07578 -0.11366 0.078 -0.11667 C 0.08685 -0.12894 0.07917 -0.11875 0.09141 -0.13264 C 0.09362 -0.13519 0.0957 -0.1382 0.09805 -0.14051 C 0.10052 -0.14283 0.10339 -0.14421 0.10586 -0.14653 C 0.11042 -0.15023 0.11472 -0.15509 0.1194 -0.15833 C 0.12474 -0.16227 0.13073 -0.16458 0.13555 -0.17037 C 0.14232 -0.17824 0.13867 -0.17593 0.14675 -0.17732 C 0.14844 -0.17801 0.15026 -0.17824 0.15182 -0.17917 C 0.15638 -0.18241 0.15768 -0.18565 0.16185 -0.18727 C 0.16849 -0.18982 0.16445 -0.18634 0.17136 -0.19028 C 0.17279 -0.19097 0.17396 -0.19259 0.17526 -0.19329 C 0.17943 -0.19514 0.18451 -0.1956 0.1888 -0.19607 L 0.24805 -0.19421 C 0.24974 -0.19398 0.25143 -0.19283 0.25313 -0.19213 C 0.26185 -0.18843 0.25352 -0.1919 0.26602 -0.18426 C 0.27018 -0.18171 0.27253 -0.18195 0.27722 -0.18125 C 0.27852 -0.17917 0.27956 -0.17662 0.28112 -0.17523 C 0.28268 -0.17408 0.28451 -0.175 0.28607 -0.17431 C 0.28724 -0.17384 0.28828 -0.17269 0.28945 -0.17222 C 0.29284 -0.17107 0.29961 -0.16921 0.29961 -0.16921 C 0.30065 -0.16806 0.30169 -0.16644 0.30287 -0.16528 C 0.30456 -0.16412 0.30638 -0.16389 0.30794 -0.16227 C 0.30912 -0.16111 0.30964 -0.15857 0.31081 -0.15741 C 0.31263 -0.15556 0.31485 -0.15486 0.31693 -0.15347 C 0.31784 -0.15255 0.31875 -0.15139 0.31966 -0.15046 C 0.32175 -0.14861 0.32383 -0.14746 0.32591 -0.14537 C 0.32669 -0.14468 0.32735 -0.14329 0.32813 -0.14236 C 0.32917 -0.14144 0.33034 -0.14074 0.33151 -0.13958 C 0.33568 -0.13496 0.3349 -0.13403 0.33932 -0.13056 C 0.33998 -0.12986 0.34076 -0.12986 0.34154 -0.12963 C 0.34245 -0.12778 0.34323 -0.12593 0.34427 -0.12454 C 0.34492 -0.12384 0.34584 -0.12431 0.34662 -0.12361 C 0.34792 -0.12222 0.34922 -0.12037 0.35052 -0.11852 C 0.35104 -0.11783 0.35156 -0.11644 0.35222 -0.11551 C 0.35365 -0.11389 0.35521 -0.1125 0.35664 -0.11065 C 0.36302 -0.10185 0.35547 -0.1088 0.36341 -0.10278 C 0.36406 -0.10093 0.36459 -0.09908 0.36563 -0.09769 C 0.375 -0.08542 0.3638 -0.10533 0.37344 -0.08982 C 0.37435 -0.08843 0.37487 -0.08634 0.37565 -0.08472 C 0.37748 -0.08102 0.37787 -0.08148 0.38008 -0.07778 C 0.38242 -0.07431 0.38177 -0.07454 0.38412 -0.06991 C 0.3849 -0.06806 0.38594 -0.06644 0.38685 -0.06482 C 0.38724 -0.06273 0.38776 -0.05949 0.38854 -0.05787 C 0.38932 -0.05625 0.39076 -0.05556 0.39193 -0.05486 C 0.39258 -0.05371 0.39323 -0.05185 0.39414 -0.05093 C 0.39492 -0.05023 0.39597 -0.05046 0.39688 -0.05 C 0.39753 -0.04977 0.39805 -0.04931 0.39857 -0.04908 C 0.40182 -0.04329 0.39857 -0.04792 0.40248 -0.04491 C 0.40313 -0.04445 0.40365 -0.04352 0.40417 -0.04306 C 0.40534 -0.04213 0.40638 -0.04167 0.40755 -0.04097 C 0.41081 -0.03727 0.4082 -0.03982 0.41432 -0.03704 C 0.4168 -0.03588 0.41628 -0.03519 0.41927 -0.0331 C 0.4211 -0.03171 0.42448 -0.03148 0.42604 -0.03102 C 0.42682 -0.03079 0.42748 -0.03033 0.42826 -0.03009 C 0.43112 -0.02755 0.4319 -0.02639 0.43503 -0.025 C 0.43828 -0.02361 0.44414 -0.02338 0.44675 -0.02315 C 0.45065 -0.01783 0.44714 -0.02176 0.45235 -0.01921 C 0.4612 -0.01482 0.44453 -0.01713 0.46576 -0.0132 C 0.47943 -0.01065 0.47279 -0.01111 0.48542 -0.01111 " pathEditMode="relative" ptsTypes="AAAAAAAAAAAAAAAAAAAAAAAAAAAAAAAAAAAAAAAAAAAAAAAAAAAAAAAAAAAAAAAAAAAAA">
                                      <p:cBhvr>
                                        <p:cTn id="19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0" presetID="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1" grpId="1" animBg="1"/>
      <p:bldP spid="22" grpId="0"/>
      <p:bldP spid="22" grpId="1"/>
      <p:bldP spid="2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4CB03A1-F3CD-4417-B797-129C5D1A5B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dern OS = Kernel + Interface(CLI + GUI)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3D5B32B-A33D-44B7-BD82-65DC687BF7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grpSp>
        <p:nvGrpSpPr>
          <p:cNvPr id="5" name="2ce3a2b1-4bc3-4e65-9a52-0ccb868cfb2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238595F-54EF-4F06-888F-D89F8F812E23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3982106" y="1326832"/>
            <a:ext cx="7538381" cy="4855182"/>
            <a:chOff x="3982107" y="1285643"/>
            <a:chExt cx="7538381" cy="4855182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53E5C83A-2892-4504-AC34-931E9AD592FB}"/>
                </a:ext>
              </a:extLst>
            </p:cNvPr>
            <p:cNvCxnSpPr>
              <a:cxnSpLocks/>
              <a:stCxn id="10" idx="2"/>
            </p:cNvCxnSpPr>
            <p:nvPr/>
          </p:nvCxnSpPr>
          <p:spPr>
            <a:xfrm flipH="1" flipV="1">
              <a:off x="7751295" y="3429000"/>
              <a:ext cx="2" cy="1057332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47C7A31A-259A-415F-91EA-7C08271CE626}"/>
                </a:ext>
              </a:extLst>
            </p:cNvPr>
            <p:cNvCxnSpPr>
              <a:cxnSpLocks/>
              <a:stCxn id="11" idx="2"/>
            </p:cNvCxnSpPr>
            <p:nvPr/>
          </p:nvCxnSpPr>
          <p:spPr>
            <a:xfrm flipH="1" flipV="1">
              <a:off x="10017314" y="2237699"/>
              <a:ext cx="2" cy="2248633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A6B9A562-C1FB-4C46-BBD6-C73B815A5203}"/>
                </a:ext>
              </a:extLst>
            </p:cNvPr>
            <p:cNvCxnSpPr>
              <a:cxnSpLocks/>
              <a:stCxn id="9" idx="2"/>
            </p:cNvCxnSpPr>
            <p:nvPr/>
          </p:nvCxnSpPr>
          <p:spPr>
            <a:xfrm flipH="1" flipV="1">
              <a:off x="5485279" y="4286035"/>
              <a:ext cx="1" cy="200297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íṥḻïḋè">
              <a:extLst>
                <a:ext uri="{FF2B5EF4-FFF2-40B4-BE49-F238E27FC236}">
                  <a16:creationId xmlns:a16="http://schemas.microsoft.com/office/drawing/2014/main" id="{93F3ED03-4538-4E12-9280-2F262A88153A}"/>
                </a:ext>
              </a:extLst>
            </p:cNvPr>
            <p:cNvSpPr/>
            <p:nvPr/>
          </p:nvSpPr>
          <p:spPr>
            <a:xfrm flipV="1">
              <a:off x="3982107" y="4486332"/>
              <a:ext cx="3006345" cy="1654493"/>
            </a:xfrm>
            <a:custGeom>
              <a:avLst/>
              <a:gdLst>
                <a:gd name="connsiteX0" fmla="*/ 0 w 3390900"/>
                <a:gd name="connsiteY0" fmla="*/ 0 h 1695450"/>
                <a:gd name="connsiteX1" fmla="*/ 3390900 w 3390900"/>
                <a:gd name="connsiteY1" fmla="*/ 0 h 1695450"/>
                <a:gd name="connsiteX2" fmla="*/ 1695450 w 3390900"/>
                <a:gd name="connsiteY2" fmla="*/ 1695450 h 1695450"/>
                <a:gd name="connsiteX3" fmla="*/ 0 w 3390900"/>
                <a:gd name="connsiteY3" fmla="*/ 0 h 1695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90900" h="1695450">
                  <a:moveTo>
                    <a:pt x="0" y="0"/>
                  </a:moveTo>
                  <a:lnTo>
                    <a:pt x="3390900" y="0"/>
                  </a:lnTo>
                  <a:cubicBezTo>
                    <a:pt x="3390900" y="936371"/>
                    <a:pt x="2631821" y="1695450"/>
                    <a:pt x="1695450" y="1695450"/>
                  </a:cubicBezTo>
                  <a:cubicBezTo>
                    <a:pt x="759079" y="1695450"/>
                    <a:pt x="0" y="936371"/>
                    <a:pt x="0" y="0"/>
                  </a:cubicBezTo>
                  <a:close/>
                </a:path>
              </a:pathLst>
            </a:custGeom>
            <a:solidFill>
              <a:schemeClr val="accent2">
                <a:alpha val="85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ïṥľide">
              <a:extLst>
                <a:ext uri="{FF2B5EF4-FFF2-40B4-BE49-F238E27FC236}">
                  <a16:creationId xmlns:a16="http://schemas.microsoft.com/office/drawing/2014/main" id="{7A08E8E7-7638-4A2B-ABBB-0299A959AD2D}"/>
                </a:ext>
              </a:extLst>
            </p:cNvPr>
            <p:cNvSpPr/>
            <p:nvPr/>
          </p:nvSpPr>
          <p:spPr>
            <a:xfrm flipV="1">
              <a:off x="6248124" y="4486332"/>
              <a:ext cx="3006345" cy="1654493"/>
            </a:xfrm>
            <a:custGeom>
              <a:avLst/>
              <a:gdLst>
                <a:gd name="connsiteX0" fmla="*/ 0 w 3390900"/>
                <a:gd name="connsiteY0" fmla="*/ 0 h 1695450"/>
                <a:gd name="connsiteX1" fmla="*/ 3390900 w 3390900"/>
                <a:gd name="connsiteY1" fmla="*/ 0 h 1695450"/>
                <a:gd name="connsiteX2" fmla="*/ 1695450 w 3390900"/>
                <a:gd name="connsiteY2" fmla="*/ 1695450 h 1695450"/>
                <a:gd name="connsiteX3" fmla="*/ 0 w 3390900"/>
                <a:gd name="connsiteY3" fmla="*/ 0 h 1695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90900" h="1695450">
                  <a:moveTo>
                    <a:pt x="0" y="0"/>
                  </a:moveTo>
                  <a:lnTo>
                    <a:pt x="3390900" y="0"/>
                  </a:lnTo>
                  <a:cubicBezTo>
                    <a:pt x="3390900" y="936371"/>
                    <a:pt x="2631821" y="1695450"/>
                    <a:pt x="1695450" y="1695450"/>
                  </a:cubicBezTo>
                  <a:cubicBezTo>
                    <a:pt x="759079" y="1695450"/>
                    <a:pt x="0" y="936371"/>
                    <a:pt x="0" y="0"/>
                  </a:cubicBezTo>
                  <a:close/>
                </a:path>
              </a:pathLst>
            </a:custGeom>
            <a:solidFill>
              <a:schemeClr val="accent3">
                <a:alpha val="85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iš1íďê">
              <a:extLst>
                <a:ext uri="{FF2B5EF4-FFF2-40B4-BE49-F238E27FC236}">
                  <a16:creationId xmlns:a16="http://schemas.microsoft.com/office/drawing/2014/main" id="{B0047398-F3CF-4614-AF4A-F41BAD5447F6}"/>
                </a:ext>
              </a:extLst>
            </p:cNvPr>
            <p:cNvSpPr/>
            <p:nvPr/>
          </p:nvSpPr>
          <p:spPr>
            <a:xfrm flipV="1">
              <a:off x="8514143" y="4486332"/>
              <a:ext cx="3006345" cy="1654493"/>
            </a:xfrm>
            <a:custGeom>
              <a:avLst/>
              <a:gdLst>
                <a:gd name="connsiteX0" fmla="*/ 0 w 3390900"/>
                <a:gd name="connsiteY0" fmla="*/ 0 h 1695450"/>
                <a:gd name="connsiteX1" fmla="*/ 3390900 w 3390900"/>
                <a:gd name="connsiteY1" fmla="*/ 0 h 1695450"/>
                <a:gd name="connsiteX2" fmla="*/ 1695450 w 3390900"/>
                <a:gd name="connsiteY2" fmla="*/ 1695450 h 1695450"/>
                <a:gd name="connsiteX3" fmla="*/ 0 w 3390900"/>
                <a:gd name="connsiteY3" fmla="*/ 0 h 1695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90900" h="1695450">
                  <a:moveTo>
                    <a:pt x="0" y="0"/>
                  </a:moveTo>
                  <a:lnTo>
                    <a:pt x="3390900" y="0"/>
                  </a:lnTo>
                  <a:cubicBezTo>
                    <a:pt x="3390900" y="936371"/>
                    <a:pt x="2631821" y="1695450"/>
                    <a:pt x="1695450" y="1695450"/>
                  </a:cubicBezTo>
                  <a:cubicBezTo>
                    <a:pt x="759079" y="1695450"/>
                    <a:pt x="0" y="936371"/>
                    <a:pt x="0" y="0"/>
                  </a:cubicBezTo>
                  <a:close/>
                </a:path>
              </a:pathLst>
            </a:custGeom>
            <a:solidFill>
              <a:schemeClr val="accent2">
                <a:alpha val="85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í$lïďé">
              <a:extLst>
                <a:ext uri="{FF2B5EF4-FFF2-40B4-BE49-F238E27FC236}">
                  <a16:creationId xmlns:a16="http://schemas.microsoft.com/office/drawing/2014/main" id="{5836D5F9-1595-4CFA-8E25-0D9268890360}"/>
                </a:ext>
              </a:extLst>
            </p:cNvPr>
            <p:cNvSpPr/>
            <p:nvPr/>
          </p:nvSpPr>
          <p:spPr bwMode="auto">
            <a:xfrm>
              <a:off x="7496420" y="5101636"/>
              <a:ext cx="509753" cy="430778"/>
            </a:xfrm>
            <a:custGeom>
              <a:avLst/>
              <a:gdLst>
                <a:gd name="connsiteX0" fmla="*/ 46038 w 338138"/>
                <a:gd name="connsiteY0" fmla="*/ 261938 h 285751"/>
                <a:gd name="connsiteX1" fmla="*/ 38100 w 338138"/>
                <a:gd name="connsiteY1" fmla="*/ 270670 h 285751"/>
                <a:gd name="connsiteX2" fmla="*/ 46038 w 338138"/>
                <a:gd name="connsiteY2" fmla="*/ 279402 h 285751"/>
                <a:gd name="connsiteX3" fmla="*/ 53976 w 338138"/>
                <a:gd name="connsiteY3" fmla="*/ 270670 h 285751"/>
                <a:gd name="connsiteX4" fmla="*/ 46038 w 338138"/>
                <a:gd name="connsiteY4" fmla="*/ 261938 h 285751"/>
                <a:gd name="connsiteX5" fmla="*/ 288131 w 338138"/>
                <a:gd name="connsiteY5" fmla="*/ 184150 h 285751"/>
                <a:gd name="connsiteX6" fmla="*/ 277812 w 338138"/>
                <a:gd name="connsiteY6" fmla="*/ 194469 h 285751"/>
                <a:gd name="connsiteX7" fmla="*/ 288131 w 338138"/>
                <a:gd name="connsiteY7" fmla="*/ 204788 h 285751"/>
                <a:gd name="connsiteX8" fmla="*/ 298450 w 338138"/>
                <a:gd name="connsiteY8" fmla="*/ 194469 h 285751"/>
                <a:gd name="connsiteX9" fmla="*/ 288131 w 338138"/>
                <a:gd name="connsiteY9" fmla="*/ 184150 h 285751"/>
                <a:gd name="connsiteX10" fmla="*/ 19050 w 338138"/>
                <a:gd name="connsiteY10" fmla="*/ 165100 h 285751"/>
                <a:gd name="connsiteX11" fmla="*/ 19050 w 338138"/>
                <a:gd name="connsiteY11" fmla="*/ 242888 h 285751"/>
                <a:gd name="connsiteX12" fmla="*/ 73025 w 338138"/>
                <a:gd name="connsiteY12" fmla="*/ 242888 h 285751"/>
                <a:gd name="connsiteX13" fmla="*/ 73025 w 338138"/>
                <a:gd name="connsiteY13" fmla="*/ 165100 h 285751"/>
                <a:gd name="connsiteX14" fmla="*/ 12010 w 338138"/>
                <a:gd name="connsiteY14" fmla="*/ 141288 h 285751"/>
                <a:gd name="connsiteX15" fmla="*/ 81400 w 338138"/>
                <a:gd name="connsiteY15" fmla="*/ 141288 h 285751"/>
                <a:gd name="connsiteX16" fmla="*/ 92075 w 338138"/>
                <a:gd name="connsiteY16" fmla="*/ 153107 h 285751"/>
                <a:gd name="connsiteX17" fmla="*/ 92075 w 338138"/>
                <a:gd name="connsiteY17" fmla="*/ 273932 h 285751"/>
                <a:gd name="connsiteX18" fmla="*/ 81400 w 338138"/>
                <a:gd name="connsiteY18" fmla="*/ 285751 h 285751"/>
                <a:gd name="connsiteX19" fmla="*/ 12010 w 338138"/>
                <a:gd name="connsiteY19" fmla="*/ 285751 h 285751"/>
                <a:gd name="connsiteX20" fmla="*/ 0 w 338138"/>
                <a:gd name="connsiteY20" fmla="*/ 273932 h 285751"/>
                <a:gd name="connsiteX21" fmla="*/ 0 w 338138"/>
                <a:gd name="connsiteY21" fmla="*/ 153107 h 285751"/>
                <a:gd name="connsiteX22" fmla="*/ 12010 w 338138"/>
                <a:gd name="connsiteY22" fmla="*/ 141288 h 285751"/>
                <a:gd name="connsiteX23" fmla="*/ 55002 w 338138"/>
                <a:gd name="connsiteY23" fmla="*/ 82550 h 285751"/>
                <a:gd name="connsiteX24" fmla="*/ 175185 w 338138"/>
                <a:gd name="connsiteY24" fmla="*/ 82550 h 285751"/>
                <a:gd name="connsiteX25" fmla="*/ 193675 w 338138"/>
                <a:gd name="connsiteY25" fmla="*/ 99703 h 285751"/>
                <a:gd name="connsiteX26" fmla="*/ 193675 w 338138"/>
                <a:gd name="connsiteY26" fmla="*/ 268597 h 285751"/>
                <a:gd name="connsiteX27" fmla="*/ 175185 w 338138"/>
                <a:gd name="connsiteY27" fmla="*/ 285750 h 285751"/>
                <a:gd name="connsiteX28" fmla="*/ 107830 w 338138"/>
                <a:gd name="connsiteY28" fmla="*/ 285750 h 285751"/>
                <a:gd name="connsiteX29" fmla="*/ 109151 w 338138"/>
                <a:gd name="connsiteY29" fmla="*/ 276514 h 285751"/>
                <a:gd name="connsiteX30" fmla="*/ 109151 w 338138"/>
                <a:gd name="connsiteY30" fmla="*/ 273875 h 285751"/>
                <a:gd name="connsiteX31" fmla="*/ 115754 w 338138"/>
                <a:gd name="connsiteY31" fmla="*/ 275194 h 285751"/>
                <a:gd name="connsiteX32" fmla="*/ 124999 w 338138"/>
                <a:gd name="connsiteY32" fmla="*/ 264639 h 285751"/>
                <a:gd name="connsiteX33" fmla="*/ 115754 w 338138"/>
                <a:gd name="connsiteY33" fmla="*/ 254083 h 285751"/>
                <a:gd name="connsiteX34" fmla="*/ 109151 w 338138"/>
                <a:gd name="connsiteY34" fmla="*/ 256722 h 285751"/>
                <a:gd name="connsiteX35" fmla="*/ 109151 w 338138"/>
                <a:gd name="connsiteY35" fmla="*/ 235610 h 285751"/>
                <a:gd name="connsiteX36" fmla="*/ 168582 w 338138"/>
                <a:gd name="connsiteY36" fmla="*/ 235610 h 285751"/>
                <a:gd name="connsiteX37" fmla="*/ 168582 w 338138"/>
                <a:gd name="connsiteY37" fmla="*/ 110259 h 285751"/>
                <a:gd name="connsiteX38" fmla="*/ 61606 w 338138"/>
                <a:gd name="connsiteY38" fmla="*/ 110259 h 285751"/>
                <a:gd name="connsiteX39" fmla="*/ 61606 w 338138"/>
                <a:gd name="connsiteY39" fmla="*/ 126093 h 285751"/>
                <a:gd name="connsiteX40" fmla="*/ 36512 w 338138"/>
                <a:gd name="connsiteY40" fmla="*/ 126093 h 285751"/>
                <a:gd name="connsiteX41" fmla="*/ 36512 w 338138"/>
                <a:gd name="connsiteY41" fmla="*/ 99703 h 285751"/>
                <a:gd name="connsiteX42" fmla="*/ 55002 w 338138"/>
                <a:gd name="connsiteY42" fmla="*/ 82550 h 285751"/>
                <a:gd name="connsiteX43" fmla="*/ 102729 w 338138"/>
                <a:gd name="connsiteY43" fmla="*/ 0 h 285751"/>
                <a:gd name="connsiteX44" fmla="*/ 305260 w 338138"/>
                <a:gd name="connsiteY44" fmla="*/ 0 h 285751"/>
                <a:gd name="connsiteX45" fmla="*/ 338138 w 338138"/>
                <a:gd name="connsiteY45" fmla="*/ 34237 h 285751"/>
                <a:gd name="connsiteX46" fmla="*/ 338138 w 338138"/>
                <a:gd name="connsiteY46" fmla="*/ 188306 h 285751"/>
                <a:gd name="connsiteX47" fmla="*/ 305260 w 338138"/>
                <a:gd name="connsiteY47" fmla="*/ 221226 h 285751"/>
                <a:gd name="connsiteX48" fmla="*/ 234242 w 338138"/>
                <a:gd name="connsiteY48" fmla="*/ 221226 h 285751"/>
                <a:gd name="connsiteX49" fmla="*/ 234242 w 338138"/>
                <a:gd name="connsiteY49" fmla="*/ 243612 h 285751"/>
                <a:gd name="connsiteX50" fmla="*/ 265806 w 338138"/>
                <a:gd name="connsiteY50" fmla="*/ 243612 h 285751"/>
                <a:gd name="connsiteX51" fmla="*/ 277642 w 338138"/>
                <a:gd name="connsiteY51" fmla="*/ 256780 h 285751"/>
                <a:gd name="connsiteX52" fmla="*/ 277642 w 338138"/>
                <a:gd name="connsiteY52" fmla="*/ 272582 h 285751"/>
                <a:gd name="connsiteX53" fmla="*/ 265806 w 338138"/>
                <a:gd name="connsiteY53" fmla="*/ 285750 h 285751"/>
                <a:gd name="connsiteX54" fmla="*/ 205309 w 338138"/>
                <a:gd name="connsiteY54" fmla="*/ 285750 h 285751"/>
                <a:gd name="connsiteX55" fmla="*/ 210570 w 338138"/>
                <a:gd name="connsiteY55" fmla="*/ 269948 h 285751"/>
                <a:gd name="connsiteX56" fmla="*/ 210570 w 338138"/>
                <a:gd name="connsiteY56" fmla="*/ 213325 h 285751"/>
                <a:gd name="connsiteX57" fmla="*/ 210570 w 338138"/>
                <a:gd name="connsiteY57" fmla="*/ 172504 h 285751"/>
                <a:gd name="connsiteX58" fmla="*/ 296054 w 338138"/>
                <a:gd name="connsiteY58" fmla="*/ 172504 h 285751"/>
                <a:gd name="connsiteX59" fmla="*/ 309205 w 338138"/>
                <a:gd name="connsiteY59" fmla="*/ 159335 h 285751"/>
                <a:gd name="connsiteX60" fmla="*/ 309205 w 338138"/>
                <a:gd name="connsiteY60" fmla="*/ 39504 h 285751"/>
                <a:gd name="connsiteX61" fmla="*/ 296054 w 338138"/>
                <a:gd name="connsiteY61" fmla="*/ 27653 h 285751"/>
                <a:gd name="connsiteX62" fmla="*/ 110620 w 338138"/>
                <a:gd name="connsiteY62" fmla="*/ 27653 h 285751"/>
                <a:gd name="connsiteX63" fmla="*/ 98783 w 338138"/>
                <a:gd name="connsiteY63" fmla="*/ 39504 h 285751"/>
                <a:gd name="connsiteX64" fmla="*/ 98783 w 338138"/>
                <a:gd name="connsiteY64" fmla="*/ 65841 h 285751"/>
                <a:gd name="connsiteX65" fmla="*/ 69850 w 338138"/>
                <a:gd name="connsiteY65" fmla="*/ 65841 h 285751"/>
                <a:gd name="connsiteX66" fmla="*/ 69850 w 338138"/>
                <a:gd name="connsiteY66" fmla="*/ 34237 h 285751"/>
                <a:gd name="connsiteX67" fmla="*/ 102729 w 338138"/>
                <a:gd name="connsiteY67" fmla="*/ 0 h 28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38138" h="285751">
                  <a:moveTo>
                    <a:pt x="46038" y="261938"/>
                  </a:moveTo>
                  <a:cubicBezTo>
                    <a:pt x="41654" y="261938"/>
                    <a:pt x="38100" y="265847"/>
                    <a:pt x="38100" y="270670"/>
                  </a:cubicBezTo>
                  <a:cubicBezTo>
                    <a:pt x="38100" y="275493"/>
                    <a:pt x="41654" y="279402"/>
                    <a:pt x="46038" y="279402"/>
                  </a:cubicBezTo>
                  <a:cubicBezTo>
                    <a:pt x="50422" y="279402"/>
                    <a:pt x="53976" y="275493"/>
                    <a:pt x="53976" y="270670"/>
                  </a:cubicBezTo>
                  <a:cubicBezTo>
                    <a:pt x="53976" y="265847"/>
                    <a:pt x="50422" y="261938"/>
                    <a:pt x="46038" y="261938"/>
                  </a:cubicBezTo>
                  <a:close/>
                  <a:moveTo>
                    <a:pt x="288131" y="184150"/>
                  </a:moveTo>
                  <a:cubicBezTo>
                    <a:pt x="282432" y="184150"/>
                    <a:pt x="277812" y="188770"/>
                    <a:pt x="277812" y="194469"/>
                  </a:cubicBezTo>
                  <a:cubicBezTo>
                    <a:pt x="277812" y="200168"/>
                    <a:pt x="282432" y="204788"/>
                    <a:pt x="288131" y="204788"/>
                  </a:cubicBezTo>
                  <a:cubicBezTo>
                    <a:pt x="293830" y="204788"/>
                    <a:pt x="298450" y="200168"/>
                    <a:pt x="298450" y="194469"/>
                  </a:cubicBezTo>
                  <a:cubicBezTo>
                    <a:pt x="298450" y="188770"/>
                    <a:pt x="293830" y="184150"/>
                    <a:pt x="288131" y="184150"/>
                  </a:cubicBezTo>
                  <a:close/>
                  <a:moveTo>
                    <a:pt x="19050" y="165100"/>
                  </a:moveTo>
                  <a:lnTo>
                    <a:pt x="19050" y="242888"/>
                  </a:lnTo>
                  <a:lnTo>
                    <a:pt x="73025" y="242888"/>
                  </a:lnTo>
                  <a:lnTo>
                    <a:pt x="73025" y="165100"/>
                  </a:lnTo>
                  <a:close/>
                  <a:moveTo>
                    <a:pt x="12010" y="141288"/>
                  </a:moveTo>
                  <a:cubicBezTo>
                    <a:pt x="12010" y="141288"/>
                    <a:pt x="12010" y="141288"/>
                    <a:pt x="81400" y="141288"/>
                  </a:cubicBezTo>
                  <a:cubicBezTo>
                    <a:pt x="86738" y="141288"/>
                    <a:pt x="92075" y="146541"/>
                    <a:pt x="92075" y="153107"/>
                  </a:cubicBezTo>
                  <a:cubicBezTo>
                    <a:pt x="92075" y="153107"/>
                    <a:pt x="92075" y="153107"/>
                    <a:pt x="92075" y="273932"/>
                  </a:cubicBezTo>
                  <a:cubicBezTo>
                    <a:pt x="92075" y="280498"/>
                    <a:pt x="86738" y="285751"/>
                    <a:pt x="81400" y="285751"/>
                  </a:cubicBezTo>
                  <a:cubicBezTo>
                    <a:pt x="81400" y="285751"/>
                    <a:pt x="81400" y="285751"/>
                    <a:pt x="12010" y="285751"/>
                  </a:cubicBezTo>
                  <a:cubicBezTo>
                    <a:pt x="5337" y="285751"/>
                    <a:pt x="0" y="280498"/>
                    <a:pt x="0" y="273932"/>
                  </a:cubicBezTo>
                  <a:cubicBezTo>
                    <a:pt x="0" y="273932"/>
                    <a:pt x="0" y="273932"/>
                    <a:pt x="0" y="153107"/>
                  </a:cubicBezTo>
                  <a:cubicBezTo>
                    <a:pt x="0" y="146541"/>
                    <a:pt x="5337" y="141288"/>
                    <a:pt x="12010" y="141288"/>
                  </a:cubicBezTo>
                  <a:close/>
                  <a:moveTo>
                    <a:pt x="55002" y="82550"/>
                  </a:moveTo>
                  <a:cubicBezTo>
                    <a:pt x="55002" y="82550"/>
                    <a:pt x="55002" y="82550"/>
                    <a:pt x="175185" y="82550"/>
                  </a:cubicBezTo>
                  <a:cubicBezTo>
                    <a:pt x="185751" y="82550"/>
                    <a:pt x="193675" y="90467"/>
                    <a:pt x="193675" y="99703"/>
                  </a:cubicBezTo>
                  <a:cubicBezTo>
                    <a:pt x="193675" y="99703"/>
                    <a:pt x="193675" y="99703"/>
                    <a:pt x="193675" y="268597"/>
                  </a:cubicBezTo>
                  <a:cubicBezTo>
                    <a:pt x="193675" y="277833"/>
                    <a:pt x="185751" y="285750"/>
                    <a:pt x="175185" y="285750"/>
                  </a:cubicBezTo>
                  <a:cubicBezTo>
                    <a:pt x="175185" y="285750"/>
                    <a:pt x="175185" y="285750"/>
                    <a:pt x="107830" y="285750"/>
                  </a:cubicBezTo>
                  <a:cubicBezTo>
                    <a:pt x="109151" y="283111"/>
                    <a:pt x="109151" y="280472"/>
                    <a:pt x="109151" y="276514"/>
                  </a:cubicBezTo>
                  <a:cubicBezTo>
                    <a:pt x="109151" y="276514"/>
                    <a:pt x="109151" y="276514"/>
                    <a:pt x="109151" y="273875"/>
                  </a:cubicBezTo>
                  <a:cubicBezTo>
                    <a:pt x="110471" y="273875"/>
                    <a:pt x="113113" y="275194"/>
                    <a:pt x="115754" y="275194"/>
                  </a:cubicBezTo>
                  <a:cubicBezTo>
                    <a:pt x="121037" y="275194"/>
                    <a:pt x="124999" y="271236"/>
                    <a:pt x="124999" y="264639"/>
                  </a:cubicBezTo>
                  <a:cubicBezTo>
                    <a:pt x="124999" y="259361"/>
                    <a:pt x="121037" y="254083"/>
                    <a:pt x="115754" y="254083"/>
                  </a:cubicBezTo>
                  <a:cubicBezTo>
                    <a:pt x="113113" y="254083"/>
                    <a:pt x="110471" y="255402"/>
                    <a:pt x="109151" y="256722"/>
                  </a:cubicBezTo>
                  <a:cubicBezTo>
                    <a:pt x="109151" y="256722"/>
                    <a:pt x="109151" y="256722"/>
                    <a:pt x="109151" y="235610"/>
                  </a:cubicBezTo>
                  <a:cubicBezTo>
                    <a:pt x="109151" y="235610"/>
                    <a:pt x="109151" y="235610"/>
                    <a:pt x="168582" y="235610"/>
                  </a:cubicBezTo>
                  <a:cubicBezTo>
                    <a:pt x="168582" y="235610"/>
                    <a:pt x="168582" y="235610"/>
                    <a:pt x="168582" y="110259"/>
                  </a:cubicBezTo>
                  <a:cubicBezTo>
                    <a:pt x="168582" y="110259"/>
                    <a:pt x="168582" y="110259"/>
                    <a:pt x="61606" y="110259"/>
                  </a:cubicBezTo>
                  <a:cubicBezTo>
                    <a:pt x="61606" y="110259"/>
                    <a:pt x="61606" y="110259"/>
                    <a:pt x="61606" y="126093"/>
                  </a:cubicBezTo>
                  <a:cubicBezTo>
                    <a:pt x="61606" y="126093"/>
                    <a:pt x="61606" y="126093"/>
                    <a:pt x="36512" y="126093"/>
                  </a:cubicBezTo>
                  <a:cubicBezTo>
                    <a:pt x="36512" y="126093"/>
                    <a:pt x="36512" y="126093"/>
                    <a:pt x="36512" y="99703"/>
                  </a:cubicBezTo>
                  <a:cubicBezTo>
                    <a:pt x="36512" y="90467"/>
                    <a:pt x="45757" y="82550"/>
                    <a:pt x="55002" y="82550"/>
                  </a:cubicBezTo>
                  <a:close/>
                  <a:moveTo>
                    <a:pt x="102729" y="0"/>
                  </a:moveTo>
                  <a:cubicBezTo>
                    <a:pt x="102729" y="0"/>
                    <a:pt x="102729" y="0"/>
                    <a:pt x="305260" y="0"/>
                  </a:cubicBezTo>
                  <a:cubicBezTo>
                    <a:pt x="323672" y="0"/>
                    <a:pt x="338138" y="15802"/>
                    <a:pt x="338138" y="34237"/>
                  </a:cubicBezTo>
                  <a:cubicBezTo>
                    <a:pt x="338138" y="34237"/>
                    <a:pt x="338138" y="34237"/>
                    <a:pt x="338138" y="188306"/>
                  </a:cubicBezTo>
                  <a:cubicBezTo>
                    <a:pt x="338138" y="206741"/>
                    <a:pt x="323672" y="221226"/>
                    <a:pt x="305260" y="221226"/>
                  </a:cubicBezTo>
                  <a:cubicBezTo>
                    <a:pt x="305260" y="221226"/>
                    <a:pt x="305260" y="221226"/>
                    <a:pt x="234242" y="221226"/>
                  </a:cubicBezTo>
                  <a:cubicBezTo>
                    <a:pt x="234242" y="221226"/>
                    <a:pt x="234242" y="221226"/>
                    <a:pt x="234242" y="243612"/>
                  </a:cubicBezTo>
                  <a:cubicBezTo>
                    <a:pt x="234242" y="243612"/>
                    <a:pt x="234242" y="243612"/>
                    <a:pt x="265806" y="243612"/>
                  </a:cubicBezTo>
                  <a:cubicBezTo>
                    <a:pt x="272381" y="243612"/>
                    <a:pt x="277642" y="250196"/>
                    <a:pt x="277642" y="256780"/>
                  </a:cubicBezTo>
                  <a:cubicBezTo>
                    <a:pt x="277642" y="256780"/>
                    <a:pt x="277642" y="256780"/>
                    <a:pt x="277642" y="272582"/>
                  </a:cubicBezTo>
                  <a:cubicBezTo>
                    <a:pt x="277642" y="280483"/>
                    <a:pt x="272381" y="285750"/>
                    <a:pt x="265806" y="285750"/>
                  </a:cubicBezTo>
                  <a:cubicBezTo>
                    <a:pt x="265806" y="285750"/>
                    <a:pt x="265806" y="285750"/>
                    <a:pt x="205309" y="285750"/>
                  </a:cubicBezTo>
                  <a:cubicBezTo>
                    <a:pt x="207940" y="280483"/>
                    <a:pt x="209255" y="275216"/>
                    <a:pt x="210570" y="269948"/>
                  </a:cubicBezTo>
                  <a:cubicBezTo>
                    <a:pt x="210570" y="268632"/>
                    <a:pt x="210570" y="213325"/>
                    <a:pt x="210570" y="213325"/>
                  </a:cubicBezTo>
                  <a:cubicBezTo>
                    <a:pt x="210570" y="213325"/>
                    <a:pt x="210570" y="213325"/>
                    <a:pt x="210570" y="172504"/>
                  </a:cubicBezTo>
                  <a:cubicBezTo>
                    <a:pt x="210570" y="172504"/>
                    <a:pt x="210570" y="172504"/>
                    <a:pt x="296054" y="172504"/>
                  </a:cubicBezTo>
                  <a:cubicBezTo>
                    <a:pt x="303945" y="172504"/>
                    <a:pt x="309205" y="165920"/>
                    <a:pt x="309205" y="159335"/>
                  </a:cubicBezTo>
                  <a:cubicBezTo>
                    <a:pt x="309205" y="159335"/>
                    <a:pt x="309205" y="159335"/>
                    <a:pt x="309205" y="39504"/>
                  </a:cubicBezTo>
                  <a:cubicBezTo>
                    <a:pt x="309205" y="32920"/>
                    <a:pt x="303945" y="27653"/>
                    <a:pt x="296054" y="27653"/>
                  </a:cubicBezTo>
                  <a:cubicBezTo>
                    <a:pt x="296054" y="27653"/>
                    <a:pt x="296054" y="27653"/>
                    <a:pt x="110620" y="27653"/>
                  </a:cubicBezTo>
                  <a:cubicBezTo>
                    <a:pt x="104044" y="27653"/>
                    <a:pt x="98783" y="32920"/>
                    <a:pt x="98783" y="39504"/>
                  </a:cubicBezTo>
                  <a:cubicBezTo>
                    <a:pt x="98783" y="39504"/>
                    <a:pt x="98783" y="39504"/>
                    <a:pt x="98783" y="65841"/>
                  </a:cubicBezTo>
                  <a:cubicBezTo>
                    <a:pt x="98783" y="65841"/>
                    <a:pt x="98783" y="65841"/>
                    <a:pt x="69850" y="65841"/>
                  </a:cubicBezTo>
                  <a:cubicBezTo>
                    <a:pt x="69850" y="65841"/>
                    <a:pt x="69850" y="65841"/>
                    <a:pt x="69850" y="34237"/>
                  </a:cubicBezTo>
                  <a:cubicBezTo>
                    <a:pt x="69850" y="15802"/>
                    <a:pt x="84317" y="0"/>
                    <a:pt x="1027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iŝḻîḍê">
              <a:extLst>
                <a:ext uri="{FF2B5EF4-FFF2-40B4-BE49-F238E27FC236}">
                  <a16:creationId xmlns:a16="http://schemas.microsoft.com/office/drawing/2014/main" id="{C2D24CCE-65B6-44BF-9693-51C9F5EFA568}"/>
                </a:ext>
              </a:extLst>
            </p:cNvPr>
            <p:cNvSpPr/>
            <p:nvPr/>
          </p:nvSpPr>
          <p:spPr bwMode="auto">
            <a:xfrm>
              <a:off x="5188831" y="5066505"/>
              <a:ext cx="592896" cy="501040"/>
            </a:xfrm>
            <a:custGeom>
              <a:avLst/>
              <a:gdLst>
                <a:gd name="connsiteX0" fmla="*/ 46038 w 338138"/>
                <a:gd name="connsiteY0" fmla="*/ 261938 h 285751"/>
                <a:gd name="connsiteX1" fmla="*/ 38100 w 338138"/>
                <a:gd name="connsiteY1" fmla="*/ 270670 h 285751"/>
                <a:gd name="connsiteX2" fmla="*/ 46038 w 338138"/>
                <a:gd name="connsiteY2" fmla="*/ 279402 h 285751"/>
                <a:gd name="connsiteX3" fmla="*/ 53976 w 338138"/>
                <a:gd name="connsiteY3" fmla="*/ 270670 h 285751"/>
                <a:gd name="connsiteX4" fmla="*/ 46038 w 338138"/>
                <a:gd name="connsiteY4" fmla="*/ 261938 h 285751"/>
                <a:gd name="connsiteX5" fmla="*/ 288131 w 338138"/>
                <a:gd name="connsiteY5" fmla="*/ 184150 h 285751"/>
                <a:gd name="connsiteX6" fmla="*/ 277812 w 338138"/>
                <a:gd name="connsiteY6" fmla="*/ 194469 h 285751"/>
                <a:gd name="connsiteX7" fmla="*/ 288131 w 338138"/>
                <a:gd name="connsiteY7" fmla="*/ 204788 h 285751"/>
                <a:gd name="connsiteX8" fmla="*/ 298450 w 338138"/>
                <a:gd name="connsiteY8" fmla="*/ 194469 h 285751"/>
                <a:gd name="connsiteX9" fmla="*/ 288131 w 338138"/>
                <a:gd name="connsiteY9" fmla="*/ 184150 h 285751"/>
                <a:gd name="connsiteX10" fmla="*/ 19050 w 338138"/>
                <a:gd name="connsiteY10" fmla="*/ 165100 h 285751"/>
                <a:gd name="connsiteX11" fmla="*/ 19050 w 338138"/>
                <a:gd name="connsiteY11" fmla="*/ 242888 h 285751"/>
                <a:gd name="connsiteX12" fmla="*/ 73025 w 338138"/>
                <a:gd name="connsiteY12" fmla="*/ 242888 h 285751"/>
                <a:gd name="connsiteX13" fmla="*/ 73025 w 338138"/>
                <a:gd name="connsiteY13" fmla="*/ 165100 h 285751"/>
                <a:gd name="connsiteX14" fmla="*/ 12010 w 338138"/>
                <a:gd name="connsiteY14" fmla="*/ 141288 h 285751"/>
                <a:gd name="connsiteX15" fmla="*/ 81400 w 338138"/>
                <a:gd name="connsiteY15" fmla="*/ 141288 h 285751"/>
                <a:gd name="connsiteX16" fmla="*/ 92075 w 338138"/>
                <a:gd name="connsiteY16" fmla="*/ 153107 h 285751"/>
                <a:gd name="connsiteX17" fmla="*/ 92075 w 338138"/>
                <a:gd name="connsiteY17" fmla="*/ 273932 h 285751"/>
                <a:gd name="connsiteX18" fmla="*/ 81400 w 338138"/>
                <a:gd name="connsiteY18" fmla="*/ 285751 h 285751"/>
                <a:gd name="connsiteX19" fmla="*/ 12010 w 338138"/>
                <a:gd name="connsiteY19" fmla="*/ 285751 h 285751"/>
                <a:gd name="connsiteX20" fmla="*/ 0 w 338138"/>
                <a:gd name="connsiteY20" fmla="*/ 273932 h 285751"/>
                <a:gd name="connsiteX21" fmla="*/ 0 w 338138"/>
                <a:gd name="connsiteY21" fmla="*/ 153107 h 285751"/>
                <a:gd name="connsiteX22" fmla="*/ 12010 w 338138"/>
                <a:gd name="connsiteY22" fmla="*/ 141288 h 285751"/>
                <a:gd name="connsiteX23" fmla="*/ 55002 w 338138"/>
                <a:gd name="connsiteY23" fmla="*/ 82550 h 285751"/>
                <a:gd name="connsiteX24" fmla="*/ 175185 w 338138"/>
                <a:gd name="connsiteY24" fmla="*/ 82550 h 285751"/>
                <a:gd name="connsiteX25" fmla="*/ 193675 w 338138"/>
                <a:gd name="connsiteY25" fmla="*/ 99703 h 285751"/>
                <a:gd name="connsiteX26" fmla="*/ 193675 w 338138"/>
                <a:gd name="connsiteY26" fmla="*/ 268597 h 285751"/>
                <a:gd name="connsiteX27" fmla="*/ 175185 w 338138"/>
                <a:gd name="connsiteY27" fmla="*/ 285750 h 285751"/>
                <a:gd name="connsiteX28" fmla="*/ 107830 w 338138"/>
                <a:gd name="connsiteY28" fmla="*/ 285750 h 285751"/>
                <a:gd name="connsiteX29" fmla="*/ 109151 w 338138"/>
                <a:gd name="connsiteY29" fmla="*/ 276514 h 285751"/>
                <a:gd name="connsiteX30" fmla="*/ 109151 w 338138"/>
                <a:gd name="connsiteY30" fmla="*/ 273875 h 285751"/>
                <a:gd name="connsiteX31" fmla="*/ 115754 w 338138"/>
                <a:gd name="connsiteY31" fmla="*/ 275194 h 285751"/>
                <a:gd name="connsiteX32" fmla="*/ 124999 w 338138"/>
                <a:gd name="connsiteY32" fmla="*/ 264639 h 285751"/>
                <a:gd name="connsiteX33" fmla="*/ 115754 w 338138"/>
                <a:gd name="connsiteY33" fmla="*/ 254083 h 285751"/>
                <a:gd name="connsiteX34" fmla="*/ 109151 w 338138"/>
                <a:gd name="connsiteY34" fmla="*/ 256722 h 285751"/>
                <a:gd name="connsiteX35" fmla="*/ 109151 w 338138"/>
                <a:gd name="connsiteY35" fmla="*/ 235610 h 285751"/>
                <a:gd name="connsiteX36" fmla="*/ 168582 w 338138"/>
                <a:gd name="connsiteY36" fmla="*/ 235610 h 285751"/>
                <a:gd name="connsiteX37" fmla="*/ 168582 w 338138"/>
                <a:gd name="connsiteY37" fmla="*/ 110259 h 285751"/>
                <a:gd name="connsiteX38" fmla="*/ 61606 w 338138"/>
                <a:gd name="connsiteY38" fmla="*/ 110259 h 285751"/>
                <a:gd name="connsiteX39" fmla="*/ 61606 w 338138"/>
                <a:gd name="connsiteY39" fmla="*/ 126093 h 285751"/>
                <a:gd name="connsiteX40" fmla="*/ 36512 w 338138"/>
                <a:gd name="connsiteY40" fmla="*/ 126093 h 285751"/>
                <a:gd name="connsiteX41" fmla="*/ 36512 w 338138"/>
                <a:gd name="connsiteY41" fmla="*/ 99703 h 285751"/>
                <a:gd name="connsiteX42" fmla="*/ 55002 w 338138"/>
                <a:gd name="connsiteY42" fmla="*/ 82550 h 285751"/>
                <a:gd name="connsiteX43" fmla="*/ 102729 w 338138"/>
                <a:gd name="connsiteY43" fmla="*/ 0 h 285751"/>
                <a:gd name="connsiteX44" fmla="*/ 305260 w 338138"/>
                <a:gd name="connsiteY44" fmla="*/ 0 h 285751"/>
                <a:gd name="connsiteX45" fmla="*/ 338138 w 338138"/>
                <a:gd name="connsiteY45" fmla="*/ 34237 h 285751"/>
                <a:gd name="connsiteX46" fmla="*/ 338138 w 338138"/>
                <a:gd name="connsiteY46" fmla="*/ 188306 h 285751"/>
                <a:gd name="connsiteX47" fmla="*/ 305260 w 338138"/>
                <a:gd name="connsiteY47" fmla="*/ 221226 h 285751"/>
                <a:gd name="connsiteX48" fmla="*/ 234242 w 338138"/>
                <a:gd name="connsiteY48" fmla="*/ 221226 h 285751"/>
                <a:gd name="connsiteX49" fmla="*/ 234242 w 338138"/>
                <a:gd name="connsiteY49" fmla="*/ 243612 h 285751"/>
                <a:gd name="connsiteX50" fmla="*/ 265806 w 338138"/>
                <a:gd name="connsiteY50" fmla="*/ 243612 h 285751"/>
                <a:gd name="connsiteX51" fmla="*/ 277642 w 338138"/>
                <a:gd name="connsiteY51" fmla="*/ 256780 h 285751"/>
                <a:gd name="connsiteX52" fmla="*/ 277642 w 338138"/>
                <a:gd name="connsiteY52" fmla="*/ 272582 h 285751"/>
                <a:gd name="connsiteX53" fmla="*/ 265806 w 338138"/>
                <a:gd name="connsiteY53" fmla="*/ 285750 h 285751"/>
                <a:gd name="connsiteX54" fmla="*/ 205309 w 338138"/>
                <a:gd name="connsiteY54" fmla="*/ 285750 h 285751"/>
                <a:gd name="connsiteX55" fmla="*/ 210570 w 338138"/>
                <a:gd name="connsiteY55" fmla="*/ 269948 h 285751"/>
                <a:gd name="connsiteX56" fmla="*/ 210570 w 338138"/>
                <a:gd name="connsiteY56" fmla="*/ 213325 h 285751"/>
                <a:gd name="connsiteX57" fmla="*/ 210570 w 338138"/>
                <a:gd name="connsiteY57" fmla="*/ 172504 h 285751"/>
                <a:gd name="connsiteX58" fmla="*/ 296054 w 338138"/>
                <a:gd name="connsiteY58" fmla="*/ 172504 h 285751"/>
                <a:gd name="connsiteX59" fmla="*/ 309205 w 338138"/>
                <a:gd name="connsiteY59" fmla="*/ 159335 h 285751"/>
                <a:gd name="connsiteX60" fmla="*/ 309205 w 338138"/>
                <a:gd name="connsiteY60" fmla="*/ 39504 h 285751"/>
                <a:gd name="connsiteX61" fmla="*/ 296054 w 338138"/>
                <a:gd name="connsiteY61" fmla="*/ 27653 h 285751"/>
                <a:gd name="connsiteX62" fmla="*/ 110620 w 338138"/>
                <a:gd name="connsiteY62" fmla="*/ 27653 h 285751"/>
                <a:gd name="connsiteX63" fmla="*/ 98783 w 338138"/>
                <a:gd name="connsiteY63" fmla="*/ 39504 h 285751"/>
                <a:gd name="connsiteX64" fmla="*/ 98783 w 338138"/>
                <a:gd name="connsiteY64" fmla="*/ 65841 h 285751"/>
                <a:gd name="connsiteX65" fmla="*/ 69850 w 338138"/>
                <a:gd name="connsiteY65" fmla="*/ 65841 h 285751"/>
                <a:gd name="connsiteX66" fmla="*/ 69850 w 338138"/>
                <a:gd name="connsiteY66" fmla="*/ 34237 h 285751"/>
                <a:gd name="connsiteX67" fmla="*/ 102729 w 338138"/>
                <a:gd name="connsiteY67" fmla="*/ 0 h 28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38138" h="285751">
                  <a:moveTo>
                    <a:pt x="46038" y="261938"/>
                  </a:moveTo>
                  <a:cubicBezTo>
                    <a:pt x="41654" y="261938"/>
                    <a:pt x="38100" y="265847"/>
                    <a:pt x="38100" y="270670"/>
                  </a:cubicBezTo>
                  <a:cubicBezTo>
                    <a:pt x="38100" y="275493"/>
                    <a:pt x="41654" y="279402"/>
                    <a:pt x="46038" y="279402"/>
                  </a:cubicBezTo>
                  <a:cubicBezTo>
                    <a:pt x="50422" y="279402"/>
                    <a:pt x="53976" y="275493"/>
                    <a:pt x="53976" y="270670"/>
                  </a:cubicBezTo>
                  <a:cubicBezTo>
                    <a:pt x="53976" y="265847"/>
                    <a:pt x="50422" y="261938"/>
                    <a:pt x="46038" y="261938"/>
                  </a:cubicBezTo>
                  <a:close/>
                  <a:moveTo>
                    <a:pt x="288131" y="184150"/>
                  </a:moveTo>
                  <a:cubicBezTo>
                    <a:pt x="282432" y="184150"/>
                    <a:pt x="277812" y="188770"/>
                    <a:pt x="277812" y="194469"/>
                  </a:cubicBezTo>
                  <a:cubicBezTo>
                    <a:pt x="277812" y="200168"/>
                    <a:pt x="282432" y="204788"/>
                    <a:pt x="288131" y="204788"/>
                  </a:cubicBezTo>
                  <a:cubicBezTo>
                    <a:pt x="293830" y="204788"/>
                    <a:pt x="298450" y="200168"/>
                    <a:pt x="298450" y="194469"/>
                  </a:cubicBezTo>
                  <a:cubicBezTo>
                    <a:pt x="298450" y="188770"/>
                    <a:pt x="293830" y="184150"/>
                    <a:pt x="288131" y="184150"/>
                  </a:cubicBezTo>
                  <a:close/>
                  <a:moveTo>
                    <a:pt x="19050" y="165100"/>
                  </a:moveTo>
                  <a:lnTo>
                    <a:pt x="19050" y="242888"/>
                  </a:lnTo>
                  <a:lnTo>
                    <a:pt x="73025" y="242888"/>
                  </a:lnTo>
                  <a:lnTo>
                    <a:pt x="73025" y="165100"/>
                  </a:lnTo>
                  <a:close/>
                  <a:moveTo>
                    <a:pt x="12010" y="141288"/>
                  </a:moveTo>
                  <a:cubicBezTo>
                    <a:pt x="12010" y="141288"/>
                    <a:pt x="12010" y="141288"/>
                    <a:pt x="81400" y="141288"/>
                  </a:cubicBezTo>
                  <a:cubicBezTo>
                    <a:pt x="86738" y="141288"/>
                    <a:pt x="92075" y="146541"/>
                    <a:pt x="92075" y="153107"/>
                  </a:cubicBezTo>
                  <a:cubicBezTo>
                    <a:pt x="92075" y="153107"/>
                    <a:pt x="92075" y="153107"/>
                    <a:pt x="92075" y="273932"/>
                  </a:cubicBezTo>
                  <a:cubicBezTo>
                    <a:pt x="92075" y="280498"/>
                    <a:pt x="86738" y="285751"/>
                    <a:pt x="81400" y="285751"/>
                  </a:cubicBezTo>
                  <a:cubicBezTo>
                    <a:pt x="81400" y="285751"/>
                    <a:pt x="81400" y="285751"/>
                    <a:pt x="12010" y="285751"/>
                  </a:cubicBezTo>
                  <a:cubicBezTo>
                    <a:pt x="5337" y="285751"/>
                    <a:pt x="0" y="280498"/>
                    <a:pt x="0" y="273932"/>
                  </a:cubicBezTo>
                  <a:cubicBezTo>
                    <a:pt x="0" y="273932"/>
                    <a:pt x="0" y="273932"/>
                    <a:pt x="0" y="153107"/>
                  </a:cubicBezTo>
                  <a:cubicBezTo>
                    <a:pt x="0" y="146541"/>
                    <a:pt x="5337" y="141288"/>
                    <a:pt x="12010" y="141288"/>
                  </a:cubicBezTo>
                  <a:close/>
                  <a:moveTo>
                    <a:pt x="55002" y="82550"/>
                  </a:moveTo>
                  <a:cubicBezTo>
                    <a:pt x="55002" y="82550"/>
                    <a:pt x="55002" y="82550"/>
                    <a:pt x="175185" y="82550"/>
                  </a:cubicBezTo>
                  <a:cubicBezTo>
                    <a:pt x="185751" y="82550"/>
                    <a:pt x="193675" y="90467"/>
                    <a:pt x="193675" y="99703"/>
                  </a:cubicBezTo>
                  <a:cubicBezTo>
                    <a:pt x="193675" y="99703"/>
                    <a:pt x="193675" y="99703"/>
                    <a:pt x="193675" y="268597"/>
                  </a:cubicBezTo>
                  <a:cubicBezTo>
                    <a:pt x="193675" y="277833"/>
                    <a:pt x="185751" y="285750"/>
                    <a:pt x="175185" y="285750"/>
                  </a:cubicBezTo>
                  <a:cubicBezTo>
                    <a:pt x="175185" y="285750"/>
                    <a:pt x="175185" y="285750"/>
                    <a:pt x="107830" y="285750"/>
                  </a:cubicBezTo>
                  <a:cubicBezTo>
                    <a:pt x="109151" y="283111"/>
                    <a:pt x="109151" y="280472"/>
                    <a:pt x="109151" y="276514"/>
                  </a:cubicBezTo>
                  <a:cubicBezTo>
                    <a:pt x="109151" y="276514"/>
                    <a:pt x="109151" y="276514"/>
                    <a:pt x="109151" y="273875"/>
                  </a:cubicBezTo>
                  <a:cubicBezTo>
                    <a:pt x="110471" y="273875"/>
                    <a:pt x="113113" y="275194"/>
                    <a:pt x="115754" y="275194"/>
                  </a:cubicBezTo>
                  <a:cubicBezTo>
                    <a:pt x="121037" y="275194"/>
                    <a:pt x="124999" y="271236"/>
                    <a:pt x="124999" y="264639"/>
                  </a:cubicBezTo>
                  <a:cubicBezTo>
                    <a:pt x="124999" y="259361"/>
                    <a:pt x="121037" y="254083"/>
                    <a:pt x="115754" y="254083"/>
                  </a:cubicBezTo>
                  <a:cubicBezTo>
                    <a:pt x="113113" y="254083"/>
                    <a:pt x="110471" y="255402"/>
                    <a:pt x="109151" y="256722"/>
                  </a:cubicBezTo>
                  <a:cubicBezTo>
                    <a:pt x="109151" y="256722"/>
                    <a:pt x="109151" y="256722"/>
                    <a:pt x="109151" y="235610"/>
                  </a:cubicBezTo>
                  <a:cubicBezTo>
                    <a:pt x="109151" y="235610"/>
                    <a:pt x="109151" y="235610"/>
                    <a:pt x="168582" y="235610"/>
                  </a:cubicBezTo>
                  <a:cubicBezTo>
                    <a:pt x="168582" y="235610"/>
                    <a:pt x="168582" y="235610"/>
                    <a:pt x="168582" y="110259"/>
                  </a:cubicBezTo>
                  <a:cubicBezTo>
                    <a:pt x="168582" y="110259"/>
                    <a:pt x="168582" y="110259"/>
                    <a:pt x="61606" y="110259"/>
                  </a:cubicBezTo>
                  <a:cubicBezTo>
                    <a:pt x="61606" y="110259"/>
                    <a:pt x="61606" y="110259"/>
                    <a:pt x="61606" y="126093"/>
                  </a:cubicBezTo>
                  <a:cubicBezTo>
                    <a:pt x="61606" y="126093"/>
                    <a:pt x="61606" y="126093"/>
                    <a:pt x="36512" y="126093"/>
                  </a:cubicBezTo>
                  <a:cubicBezTo>
                    <a:pt x="36512" y="126093"/>
                    <a:pt x="36512" y="126093"/>
                    <a:pt x="36512" y="99703"/>
                  </a:cubicBezTo>
                  <a:cubicBezTo>
                    <a:pt x="36512" y="90467"/>
                    <a:pt x="45757" y="82550"/>
                    <a:pt x="55002" y="82550"/>
                  </a:cubicBezTo>
                  <a:close/>
                  <a:moveTo>
                    <a:pt x="102729" y="0"/>
                  </a:moveTo>
                  <a:cubicBezTo>
                    <a:pt x="102729" y="0"/>
                    <a:pt x="102729" y="0"/>
                    <a:pt x="305260" y="0"/>
                  </a:cubicBezTo>
                  <a:cubicBezTo>
                    <a:pt x="323672" y="0"/>
                    <a:pt x="338138" y="15802"/>
                    <a:pt x="338138" y="34237"/>
                  </a:cubicBezTo>
                  <a:cubicBezTo>
                    <a:pt x="338138" y="34237"/>
                    <a:pt x="338138" y="34237"/>
                    <a:pt x="338138" y="188306"/>
                  </a:cubicBezTo>
                  <a:cubicBezTo>
                    <a:pt x="338138" y="206741"/>
                    <a:pt x="323672" y="221226"/>
                    <a:pt x="305260" y="221226"/>
                  </a:cubicBezTo>
                  <a:cubicBezTo>
                    <a:pt x="305260" y="221226"/>
                    <a:pt x="305260" y="221226"/>
                    <a:pt x="234242" y="221226"/>
                  </a:cubicBezTo>
                  <a:cubicBezTo>
                    <a:pt x="234242" y="221226"/>
                    <a:pt x="234242" y="221226"/>
                    <a:pt x="234242" y="243612"/>
                  </a:cubicBezTo>
                  <a:cubicBezTo>
                    <a:pt x="234242" y="243612"/>
                    <a:pt x="234242" y="243612"/>
                    <a:pt x="265806" y="243612"/>
                  </a:cubicBezTo>
                  <a:cubicBezTo>
                    <a:pt x="272381" y="243612"/>
                    <a:pt x="277642" y="250196"/>
                    <a:pt x="277642" y="256780"/>
                  </a:cubicBezTo>
                  <a:cubicBezTo>
                    <a:pt x="277642" y="256780"/>
                    <a:pt x="277642" y="256780"/>
                    <a:pt x="277642" y="272582"/>
                  </a:cubicBezTo>
                  <a:cubicBezTo>
                    <a:pt x="277642" y="280483"/>
                    <a:pt x="272381" y="285750"/>
                    <a:pt x="265806" y="285750"/>
                  </a:cubicBezTo>
                  <a:cubicBezTo>
                    <a:pt x="265806" y="285750"/>
                    <a:pt x="265806" y="285750"/>
                    <a:pt x="205309" y="285750"/>
                  </a:cubicBezTo>
                  <a:cubicBezTo>
                    <a:pt x="207940" y="280483"/>
                    <a:pt x="209255" y="275216"/>
                    <a:pt x="210570" y="269948"/>
                  </a:cubicBezTo>
                  <a:cubicBezTo>
                    <a:pt x="210570" y="268632"/>
                    <a:pt x="210570" y="213325"/>
                    <a:pt x="210570" y="213325"/>
                  </a:cubicBezTo>
                  <a:cubicBezTo>
                    <a:pt x="210570" y="213325"/>
                    <a:pt x="210570" y="213325"/>
                    <a:pt x="210570" y="172504"/>
                  </a:cubicBezTo>
                  <a:cubicBezTo>
                    <a:pt x="210570" y="172504"/>
                    <a:pt x="210570" y="172504"/>
                    <a:pt x="296054" y="172504"/>
                  </a:cubicBezTo>
                  <a:cubicBezTo>
                    <a:pt x="303945" y="172504"/>
                    <a:pt x="309205" y="165920"/>
                    <a:pt x="309205" y="159335"/>
                  </a:cubicBezTo>
                  <a:cubicBezTo>
                    <a:pt x="309205" y="159335"/>
                    <a:pt x="309205" y="159335"/>
                    <a:pt x="309205" y="39504"/>
                  </a:cubicBezTo>
                  <a:cubicBezTo>
                    <a:pt x="309205" y="32920"/>
                    <a:pt x="303945" y="27653"/>
                    <a:pt x="296054" y="27653"/>
                  </a:cubicBezTo>
                  <a:cubicBezTo>
                    <a:pt x="296054" y="27653"/>
                    <a:pt x="296054" y="27653"/>
                    <a:pt x="110620" y="27653"/>
                  </a:cubicBezTo>
                  <a:cubicBezTo>
                    <a:pt x="104044" y="27653"/>
                    <a:pt x="98783" y="32920"/>
                    <a:pt x="98783" y="39504"/>
                  </a:cubicBezTo>
                  <a:cubicBezTo>
                    <a:pt x="98783" y="39504"/>
                    <a:pt x="98783" y="39504"/>
                    <a:pt x="98783" y="65841"/>
                  </a:cubicBezTo>
                  <a:cubicBezTo>
                    <a:pt x="98783" y="65841"/>
                    <a:pt x="98783" y="65841"/>
                    <a:pt x="69850" y="65841"/>
                  </a:cubicBezTo>
                  <a:cubicBezTo>
                    <a:pt x="69850" y="65841"/>
                    <a:pt x="69850" y="65841"/>
                    <a:pt x="69850" y="34237"/>
                  </a:cubicBezTo>
                  <a:cubicBezTo>
                    <a:pt x="69850" y="15802"/>
                    <a:pt x="84317" y="0"/>
                    <a:pt x="1027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ïś1íḍe">
              <a:extLst>
                <a:ext uri="{FF2B5EF4-FFF2-40B4-BE49-F238E27FC236}">
                  <a16:creationId xmlns:a16="http://schemas.microsoft.com/office/drawing/2014/main" id="{578F2E08-9588-48D2-8A26-6F0573870CD2}"/>
                </a:ext>
              </a:extLst>
            </p:cNvPr>
            <p:cNvSpPr/>
            <p:nvPr/>
          </p:nvSpPr>
          <p:spPr bwMode="auto">
            <a:xfrm>
              <a:off x="9715173" y="5061693"/>
              <a:ext cx="604285" cy="510664"/>
            </a:xfrm>
            <a:custGeom>
              <a:avLst/>
              <a:gdLst>
                <a:gd name="connsiteX0" fmla="*/ 46038 w 338138"/>
                <a:gd name="connsiteY0" fmla="*/ 261938 h 285751"/>
                <a:gd name="connsiteX1" fmla="*/ 38100 w 338138"/>
                <a:gd name="connsiteY1" fmla="*/ 270670 h 285751"/>
                <a:gd name="connsiteX2" fmla="*/ 46038 w 338138"/>
                <a:gd name="connsiteY2" fmla="*/ 279402 h 285751"/>
                <a:gd name="connsiteX3" fmla="*/ 53976 w 338138"/>
                <a:gd name="connsiteY3" fmla="*/ 270670 h 285751"/>
                <a:gd name="connsiteX4" fmla="*/ 46038 w 338138"/>
                <a:gd name="connsiteY4" fmla="*/ 261938 h 285751"/>
                <a:gd name="connsiteX5" fmla="*/ 288131 w 338138"/>
                <a:gd name="connsiteY5" fmla="*/ 184150 h 285751"/>
                <a:gd name="connsiteX6" fmla="*/ 277812 w 338138"/>
                <a:gd name="connsiteY6" fmla="*/ 194469 h 285751"/>
                <a:gd name="connsiteX7" fmla="*/ 288131 w 338138"/>
                <a:gd name="connsiteY7" fmla="*/ 204788 h 285751"/>
                <a:gd name="connsiteX8" fmla="*/ 298450 w 338138"/>
                <a:gd name="connsiteY8" fmla="*/ 194469 h 285751"/>
                <a:gd name="connsiteX9" fmla="*/ 288131 w 338138"/>
                <a:gd name="connsiteY9" fmla="*/ 184150 h 285751"/>
                <a:gd name="connsiteX10" fmla="*/ 19050 w 338138"/>
                <a:gd name="connsiteY10" fmla="*/ 165100 h 285751"/>
                <a:gd name="connsiteX11" fmla="*/ 19050 w 338138"/>
                <a:gd name="connsiteY11" fmla="*/ 242888 h 285751"/>
                <a:gd name="connsiteX12" fmla="*/ 73025 w 338138"/>
                <a:gd name="connsiteY12" fmla="*/ 242888 h 285751"/>
                <a:gd name="connsiteX13" fmla="*/ 73025 w 338138"/>
                <a:gd name="connsiteY13" fmla="*/ 165100 h 285751"/>
                <a:gd name="connsiteX14" fmla="*/ 12010 w 338138"/>
                <a:gd name="connsiteY14" fmla="*/ 141288 h 285751"/>
                <a:gd name="connsiteX15" fmla="*/ 81400 w 338138"/>
                <a:gd name="connsiteY15" fmla="*/ 141288 h 285751"/>
                <a:gd name="connsiteX16" fmla="*/ 92075 w 338138"/>
                <a:gd name="connsiteY16" fmla="*/ 153107 h 285751"/>
                <a:gd name="connsiteX17" fmla="*/ 92075 w 338138"/>
                <a:gd name="connsiteY17" fmla="*/ 273932 h 285751"/>
                <a:gd name="connsiteX18" fmla="*/ 81400 w 338138"/>
                <a:gd name="connsiteY18" fmla="*/ 285751 h 285751"/>
                <a:gd name="connsiteX19" fmla="*/ 12010 w 338138"/>
                <a:gd name="connsiteY19" fmla="*/ 285751 h 285751"/>
                <a:gd name="connsiteX20" fmla="*/ 0 w 338138"/>
                <a:gd name="connsiteY20" fmla="*/ 273932 h 285751"/>
                <a:gd name="connsiteX21" fmla="*/ 0 w 338138"/>
                <a:gd name="connsiteY21" fmla="*/ 153107 h 285751"/>
                <a:gd name="connsiteX22" fmla="*/ 12010 w 338138"/>
                <a:gd name="connsiteY22" fmla="*/ 141288 h 285751"/>
                <a:gd name="connsiteX23" fmla="*/ 55002 w 338138"/>
                <a:gd name="connsiteY23" fmla="*/ 82550 h 285751"/>
                <a:gd name="connsiteX24" fmla="*/ 175185 w 338138"/>
                <a:gd name="connsiteY24" fmla="*/ 82550 h 285751"/>
                <a:gd name="connsiteX25" fmla="*/ 193675 w 338138"/>
                <a:gd name="connsiteY25" fmla="*/ 99703 h 285751"/>
                <a:gd name="connsiteX26" fmla="*/ 193675 w 338138"/>
                <a:gd name="connsiteY26" fmla="*/ 268597 h 285751"/>
                <a:gd name="connsiteX27" fmla="*/ 175185 w 338138"/>
                <a:gd name="connsiteY27" fmla="*/ 285750 h 285751"/>
                <a:gd name="connsiteX28" fmla="*/ 107830 w 338138"/>
                <a:gd name="connsiteY28" fmla="*/ 285750 h 285751"/>
                <a:gd name="connsiteX29" fmla="*/ 109151 w 338138"/>
                <a:gd name="connsiteY29" fmla="*/ 276514 h 285751"/>
                <a:gd name="connsiteX30" fmla="*/ 109151 w 338138"/>
                <a:gd name="connsiteY30" fmla="*/ 273875 h 285751"/>
                <a:gd name="connsiteX31" fmla="*/ 115754 w 338138"/>
                <a:gd name="connsiteY31" fmla="*/ 275194 h 285751"/>
                <a:gd name="connsiteX32" fmla="*/ 124999 w 338138"/>
                <a:gd name="connsiteY32" fmla="*/ 264639 h 285751"/>
                <a:gd name="connsiteX33" fmla="*/ 115754 w 338138"/>
                <a:gd name="connsiteY33" fmla="*/ 254083 h 285751"/>
                <a:gd name="connsiteX34" fmla="*/ 109151 w 338138"/>
                <a:gd name="connsiteY34" fmla="*/ 256722 h 285751"/>
                <a:gd name="connsiteX35" fmla="*/ 109151 w 338138"/>
                <a:gd name="connsiteY35" fmla="*/ 235610 h 285751"/>
                <a:gd name="connsiteX36" fmla="*/ 168582 w 338138"/>
                <a:gd name="connsiteY36" fmla="*/ 235610 h 285751"/>
                <a:gd name="connsiteX37" fmla="*/ 168582 w 338138"/>
                <a:gd name="connsiteY37" fmla="*/ 110259 h 285751"/>
                <a:gd name="connsiteX38" fmla="*/ 61606 w 338138"/>
                <a:gd name="connsiteY38" fmla="*/ 110259 h 285751"/>
                <a:gd name="connsiteX39" fmla="*/ 61606 w 338138"/>
                <a:gd name="connsiteY39" fmla="*/ 126093 h 285751"/>
                <a:gd name="connsiteX40" fmla="*/ 36512 w 338138"/>
                <a:gd name="connsiteY40" fmla="*/ 126093 h 285751"/>
                <a:gd name="connsiteX41" fmla="*/ 36512 w 338138"/>
                <a:gd name="connsiteY41" fmla="*/ 99703 h 285751"/>
                <a:gd name="connsiteX42" fmla="*/ 55002 w 338138"/>
                <a:gd name="connsiteY42" fmla="*/ 82550 h 285751"/>
                <a:gd name="connsiteX43" fmla="*/ 102729 w 338138"/>
                <a:gd name="connsiteY43" fmla="*/ 0 h 285751"/>
                <a:gd name="connsiteX44" fmla="*/ 305260 w 338138"/>
                <a:gd name="connsiteY44" fmla="*/ 0 h 285751"/>
                <a:gd name="connsiteX45" fmla="*/ 338138 w 338138"/>
                <a:gd name="connsiteY45" fmla="*/ 34237 h 285751"/>
                <a:gd name="connsiteX46" fmla="*/ 338138 w 338138"/>
                <a:gd name="connsiteY46" fmla="*/ 188306 h 285751"/>
                <a:gd name="connsiteX47" fmla="*/ 305260 w 338138"/>
                <a:gd name="connsiteY47" fmla="*/ 221226 h 285751"/>
                <a:gd name="connsiteX48" fmla="*/ 234242 w 338138"/>
                <a:gd name="connsiteY48" fmla="*/ 221226 h 285751"/>
                <a:gd name="connsiteX49" fmla="*/ 234242 w 338138"/>
                <a:gd name="connsiteY49" fmla="*/ 243612 h 285751"/>
                <a:gd name="connsiteX50" fmla="*/ 265806 w 338138"/>
                <a:gd name="connsiteY50" fmla="*/ 243612 h 285751"/>
                <a:gd name="connsiteX51" fmla="*/ 277642 w 338138"/>
                <a:gd name="connsiteY51" fmla="*/ 256780 h 285751"/>
                <a:gd name="connsiteX52" fmla="*/ 277642 w 338138"/>
                <a:gd name="connsiteY52" fmla="*/ 272582 h 285751"/>
                <a:gd name="connsiteX53" fmla="*/ 265806 w 338138"/>
                <a:gd name="connsiteY53" fmla="*/ 285750 h 285751"/>
                <a:gd name="connsiteX54" fmla="*/ 205309 w 338138"/>
                <a:gd name="connsiteY54" fmla="*/ 285750 h 285751"/>
                <a:gd name="connsiteX55" fmla="*/ 210570 w 338138"/>
                <a:gd name="connsiteY55" fmla="*/ 269948 h 285751"/>
                <a:gd name="connsiteX56" fmla="*/ 210570 w 338138"/>
                <a:gd name="connsiteY56" fmla="*/ 213325 h 285751"/>
                <a:gd name="connsiteX57" fmla="*/ 210570 w 338138"/>
                <a:gd name="connsiteY57" fmla="*/ 172504 h 285751"/>
                <a:gd name="connsiteX58" fmla="*/ 296054 w 338138"/>
                <a:gd name="connsiteY58" fmla="*/ 172504 h 285751"/>
                <a:gd name="connsiteX59" fmla="*/ 309205 w 338138"/>
                <a:gd name="connsiteY59" fmla="*/ 159335 h 285751"/>
                <a:gd name="connsiteX60" fmla="*/ 309205 w 338138"/>
                <a:gd name="connsiteY60" fmla="*/ 39504 h 285751"/>
                <a:gd name="connsiteX61" fmla="*/ 296054 w 338138"/>
                <a:gd name="connsiteY61" fmla="*/ 27653 h 285751"/>
                <a:gd name="connsiteX62" fmla="*/ 110620 w 338138"/>
                <a:gd name="connsiteY62" fmla="*/ 27653 h 285751"/>
                <a:gd name="connsiteX63" fmla="*/ 98783 w 338138"/>
                <a:gd name="connsiteY63" fmla="*/ 39504 h 285751"/>
                <a:gd name="connsiteX64" fmla="*/ 98783 w 338138"/>
                <a:gd name="connsiteY64" fmla="*/ 65841 h 285751"/>
                <a:gd name="connsiteX65" fmla="*/ 69850 w 338138"/>
                <a:gd name="connsiteY65" fmla="*/ 65841 h 285751"/>
                <a:gd name="connsiteX66" fmla="*/ 69850 w 338138"/>
                <a:gd name="connsiteY66" fmla="*/ 34237 h 285751"/>
                <a:gd name="connsiteX67" fmla="*/ 102729 w 338138"/>
                <a:gd name="connsiteY67" fmla="*/ 0 h 28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38138" h="285751">
                  <a:moveTo>
                    <a:pt x="46038" y="261938"/>
                  </a:moveTo>
                  <a:cubicBezTo>
                    <a:pt x="41654" y="261938"/>
                    <a:pt x="38100" y="265847"/>
                    <a:pt x="38100" y="270670"/>
                  </a:cubicBezTo>
                  <a:cubicBezTo>
                    <a:pt x="38100" y="275493"/>
                    <a:pt x="41654" y="279402"/>
                    <a:pt x="46038" y="279402"/>
                  </a:cubicBezTo>
                  <a:cubicBezTo>
                    <a:pt x="50422" y="279402"/>
                    <a:pt x="53976" y="275493"/>
                    <a:pt x="53976" y="270670"/>
                  </a:cubicBezTo>
                  <a:cubicBezTo>
                    <a:pt x="53976" y="265847"/>
                    <a:pt x="50422" y="261938"/>
                    <a:pt x="46038" y="261938"/>
                  </a:cubicBezTo>
                  <a:close/>
                  <a:moveTo>
                    <a:pt x="288131" y="184150"/>
                  </a:moveTo>
                  <a:cubicBezTo>
                    <a:pt x="282432" y="184150"/>
                    <a:pt x="277812" y="188770"/>
                    <a:pt x="277812" y="194469"/>
                  </a:cubicBezTo>
                  <a:cubicBezTo>
                    <a:pt x="277812" y="200168"/>
                    <a:pt x="282432" y="204788"/>
                    <a:pt x="288131" y="204788"/>
                  </a:cubicBezTo>
                  <a:cubicBezTo>
                    <a:pt x="293830" y="204788"/>
                    <a:pt x="298450" y="200168"/>
                    <a:pt x="298450" y="194469"/>
                  </a:cubicBezTo>
                  <a:cubicBezTo>
                    <a:pt x="298450" y="188770"/>
                    <a:pt x="293830" y="184150"/>
                    <a:pt x="288131" y="184150"/>
                  </a:cubicBezTo>
                  <a:close/>
                  <a:moveTo>
                    <a:pt x="19050" y="165100"/>
                  </a:moveTo>
                  <a:lnTo>
                    <a:pt x="19050" y="242888"/>
                  </a:lnTo>
                  <a:lnTo>
                    <a:pt x="73025" y="242888"/>
                  </a:lnTo>
                  <a:lnTo>
                    <a:pt x="73025" y="165100"/>
                  </a:lnTo>
                  <a:close/>
                  <a:moveTo>
                    <a:pt x="12010" y="141288"/>
                  </a:moveTo>
                  <a:cubicBezTo>
                    <a:pt x="12010" y="141288"/>
                    <a:pt x="12010" y="141288"/>
                    <a:pt x="81400" y="141288"/>
                  </a:cubicBezTo>
                  <a:cubicBezTo>
                    <a:pt x="86738" y="141288"/>
                    <a:pt x="92075" y="146541"/>
                    <a:pt x="92075" y="153107"/>
                  </a:cubicBezTo>
                  <a:cubicBezTo>
                    <a:pt x="92075" y="153107"/>
                    <a:pt x="92075" y="153107"/>
                    <a:pt x="92075" y="273932"/>
                  </a:cubicBezTo>
                  <a:cubicBezTo>
                    <a:pt x="92075" y="280498"/>
                    <a:pt x="86738" y="285751"/>
                    <a:pt x="81400" y="285751"/>
                  </a:cubicBezTo>
                  <a:cubicBezTo>
                    <a:pt x="81400" y="285751"/>
                    <a:pt x="81400" y="285751"/>
                    <a:pt x="12010" y="285751"/>
                  </a:cubicBezTo>
                  <a:cubicBezTo>
                    <a:pt x="5337" y="285751"/>
                    <a:pt x="0" y="280498"/>
                    <a:pt x="0" y="273932"/>
                  </a:cubicBezTo>
                  <a:cubicBezTo>
                    <a:pt x="0" y="273932"/>
                    <a:pt x="0" y="273932"/>
                    <a:pt x="0" y="153107"/>
                  </a:cubicBezTo>
                  <a:cubicBezTo>
                    <a:pt x="0" y="146541"/>
                    <a:pt x="5337" y="141288"/>
                    <a:pt x="12010" y="141288"/>
                  </a:cubicBezTo>
                  <a:close/>
                  <a:moveTo>
                    <a:pt x="55002" y="82550"/>
                  </a:moveTo>
                  <a:cubicBezTo>
                    <a:pt x="55002" y="82550"/>
                    <a:pt x="55002" y="82550"/>
                    <a:pt x="175185" y="82550"/>
                  </a:cubicBezTo>
                  <a:cubicBezTo>
                    <a:pt x="185751" y="82550"/>
                    <a:pt x="193675" y="90467"/>
                    <a:pt x="193675" y="99703"/>
                  </a:cubicBezTo>
                  <a:cubicBezTo>
                    <a:pt x="193675" y="99703"/>
                    <a:pt x="193675" y="99703"/>
                    <a:pt x="193675" y="268597"/>
                  </a:cubicBezTo>
                  <a:cubicBezTo>
                    <a:pt x="193675" y="277833"/>
                    <a:pt x="185751" y="285750"/>
                    <a:pt x="175185" y="285750"/>
                  </a:cubicBezTo>
                  <a:cubicBezTo>
                    <a:pt x="175185" y="285750"/>
                    <a:pt x="175185" y="285750"/>
                    <a:pt x="107830" y="285750"/>
                  </a:cubicBezTo>
                  <a:cubicBezTo>
                    <a:pt x="109151" y="283111"/>
                    <a:pt x="109151" y="280472"/>
                    <a:pt x="109151" y="276514"/>
                  </a:cubicBezTo>
                  <a:cubicBezTo>
                    <a:pt x="109151" y="276514"/>
                    <a:pt x="109151" y="276514"/>
                    <a:pt x="109151" y="273875"/>
                  </a:cubicBezTo>
                  <a:cubicBezTo>
                    <a:pt x="110471" y="273875"/>
                    <a:pt x="113113" y="275194"/>
                    <a:pt x="115754" y="275194"/>
                  </a:cubicBezTo>
                  <a:cubicBezTo>
                    <a:pt x="121037" y="275194"/>
                    <a:pt x="124999" y="271236"/>
                    <a:pt x="124999" y="264639"/>
                  </a:cubicBezTo>
                  <a:cubicBezTo>
                    <a:pt x="124999" y="259361"/>
                    <a:pt x="121037" y="254083"/>
                    <a:pt x="115754" y="254083"/>
                  </a:cubicBezTo>
                  <a:cubicBezTo>
                    <a:pt x="113113" y="254083"/>
                    <a:pt x="110471" y="255402"/>
                    <a:pt x="109151" y="256722"/>
                  </a:cubicBezTo>
                  <a:cubicBezTo>
                    <a:pt x="109151" y="256722"/>
                    <a:pt x="109151" y="256722"/>
                    <a:pt x="109151" y="235610"/>
                  </a:cubicBezTo>
                  <a:cubicBezTo>
                    <a:pt x="109151" y="235610"/>
                    <a:pt x="109151" y="235610"/>
                    <a:pt x="168582" y="235610"/>
                  </a:cubicBezTo>
                  <a:cubicBezTo>
                    <a:pt x="168582" y="235610"/>
                    <a:pt x="168582" y="235610"/>
                    <a:pt x="168582" y="110259"/>
                  </a:cubicBezTo>
                  <a:cubicBezTo>
                    <a:pt x="168582" y="110259"/>
                    <a:pt x="168582" y="110259"/>
                    <a:pt x="61606" y="110259"/>
                  </a:cubicBezTo>
                  <a:cubicBezTo>
                    <a:pt x="61606" y="110259"/>
                    <a:pt x="61606" y="110259"/>
                    <a:pt x="61606" y="126093"/>
                  </a:cubicBezTo>
                  <a:cubicBezTo>
                    <a:pt x="61606" y="126093"/>
                    <a:pt x="61606" y="126093"/>
                    <a:pt x="36512" y="126093"/>
                  </a:cubicBezTo>
                  <a:cubicBezTo>
                    <a:pt x="36512" y="126093"/>
                    <a:pt x="36512" y="126093"/>
                    <a:pt x="36512" y="99703"/>
                  </a:cubicBezTo>
                  <a:cubicBezTo>
                    <a:pt x="36512" y="90467"/>
                    <a:pt x="45757" y="82550"/>
                    <a:pt x="55002" y="82550"/>
                  </a:cubicBezTo>
                  <a:close/>
                  <a:moveTo>
                    <a:pt x="102729" y="0"/>
                  </a:moveTo>
                  <a:cubicBezTo>
                    <a:pt x="102729" y="0"/>
                    <a:pt x="102729" y="0"/>
                    <a:pt x="305260" y="0"/>
                  </a:cubicBezTo>
                  <a:cubicBezTo>
                    <a:pt x="323672" y="0"/>
                    <a:pt x="338138" y="15802"/>
                    <a:pt x="338138" y="34237"/>
                  </a:cubicBezTo>
                  <a:cubicBezTo>
                    <a:pt x="338138" y="34237"/>
                    <a:pt x="338138" y="34237"/>
                    <a:pt x="338138" y="188306"/>
                  </a:cubicBezTo>
                  <a:cubicBezTo>
                    <a:pt x="338138" y="206741"/>
                    <a:pt x="323672" y="221226"/>
                    <a:pt x="305260" y="221226"/>
                  </a:cubicBezTo>
                  <a:cubicBezTo>
                    <a:pt x="305260" y="221226"/>
                    <a:pt x="305260" y="221226"/>
                    <a:pt x="234242" y="221226"/>
                  </a:cubicBezTo>
                  <a:cubicBezTo>
                    <a:pt x="234242" y="221226"/>
                    <a:pt x="234242" y="221226"/>
                    <a:pt x="234242" y="243612"/>
                  </a:cubicBezTo>
                  <a:cubicBezTo>
                    <a:pt x="234242" y="243612"/>
                    <a:pt x="234242" y="243612"/>
                    <a:pt x="265806" y="243612"/>
                  </a:cubicBezTo>
                  <a:cubicBezTo>
                    <a:pt x="272381" y="243612"/>
                    <a:pt x="277642" y="250196"/>
                    <a:pt x="277642" y="256780"/>
                  </a:cubicBezTo>
                  <a:cubicBezTo>
                    <a:pt x="277642" y="256780"/>
                    <a:pt x="277642" y="256780"/>
                    <a:pt x="277642" y="272582"/>
                  </a:cubicBezTo>
                  <a:cubicBezTo>
                    <a:pt x="277642" y="280483"/>
                    <a:pt x="272381" y="285750"/>
                    <a:pt x="265806" y="285750"/>
                  </a:cubicBezTo>
                  <a:cubicBezTo>
                    <a:pt x="265806" y="285750"/>
                    <a:pt x="265806" y="285750"/>
                    <a:pt x="205309" y="285750"/>
                  </a:cubicBezTo>
                  <a:cubicBezTo>
                    <a:pt x="207940" y="280483"/>
                    <a:pt x="209255" y="275216"/>
                    <a:pt x="210570" y="269948"/>
                  </a:cubicBezTo>
                  <a:cubicBezTo>
                    <a:pt x="210570" y="268632"/>
                    <a:pt x="210570" y="213325"/>
                    <a:pt x="210570" y="213325"/>
                  </a:cubicBezTo>
                  <a:cubicBezTo>
                    <a:pt x="210570" y="213325"/>
                    <a:pt x="210570" y="213325"/>
                    <a:pt x="210570" y="172504"/>
                  </a:cubicBezTo>
                  <a:cubicBezTo>
                    <a:pt x="210570" y="172504"/>
                    <a:pt x="210570" y="172504"/>
                    <a:pt x="296054" y="172504"/>
                  </a:cubicBezTo>
                  <a:cubicBezTo>
                    <a:pt x="303945" y="172504"/>
                    <a:pt x="309205" y="165920"/>
                    <a:pt x="309205" y="159335"/>
                  </a:cubicBezTo>
                  <a:cubicBezTo>
                    <a:pt x="309205" y="159335"/>
                    <a:pt x="309205" y="159335"/>
                    <a:pt x="309205" y="39504"/>
                  </a:cubicBezTo>
                  <a:cubicBezTo>
                    <a:pt x="309205" y="32920"/>
                    <a:pt x="303945" y="27653"/>
                    <a:pt x="296054" y="27653"/>
                  </a:cubicBezTo>
                  <a:cubicBezTo>
                    <a:pt x="296054" y="27653"/>
                    <a:pt x="296054" y="27653"/>
                    <a:pt x="110620" y="27653"/>
                  </a:cubicBezTo>
                  <a:cubicBezTo>
                    <a:pt x="104044" y="27653"/>
                    <a:pt x="98783" y="32920"/>
                    <a:pt x="98783" y="39504"/>
                  </a:cubicBezTo>
                  <a:cubicBezTo>
                    <a:pt x="98783" y="39504"/>
                    <a:pt x="98783" y="39504"/>
                    <a:pt x="98783" y="65841"/>
                  </a:cubicBezTo>
                  <a:cubicBezTo>
                    <a:pt x="98783" y="65841"/>
                    <a:pt x="98783" y="65841"/>
                    <a:pt x="69850" y="65841"/>
                  </a:cubicBezTo>
                  <a:cubicBezTo>
                    <a:pt x="69850" y="65841"/>
                    <a:pt x="69850" y="65841"/>
                    <a:pt x="69850" y="34237"/>
                  </a:cubicBezTo>
                  <a:cubicBezTo>
                    <a:pt x="69850" y="15802"/>
                    <a:pt x="84317" y="0"/>
                    <a:pt x="1027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ïŝḻíde">
              <a:extLst>
                <a:ext uri="{FF2B5EF4-FFF2-40B4-BE49-F238E27FC236}">
                  <a16:creationId xmlns:a16="http://schemas.microsoft.com/office/drawing/2014/main" id="{2C3299B3-AFC4-450C-BBF3-825D5D306EC6}"/>
                </a:ext>
              </a:extLst>
            </p:cNvPr>
            <p:cNvSpPr/>
            <p:nvPr/>
          </p:nvSpPr>
          <p:spPr>
            <a:xfrm>
              <a:off x="4598023" y="3333979"/>
              <a:ext cx="1774513" cy="325410"/>
            </a:xfrm>
            <a:prstGeom prst="rect">
              <a:avLst/>
            </a:prstGeom>
          </p:spPr>
          <p:txBody>
            <a:bodyPr wrap="none" lIns="90000" tIns="46800" rIns="90000" bIns="46800" anchor="ctr" anchorCtr="1">
              <a:normAutofit fontScale="92500" lnSpcReduction="20000"/>
            </a:bodyPr>
            <a:lstStyle/>
            <a:p>
              <a:pPr lvl="0" algn="ctr" defTabSz="914378">
                <a:spcBef>
                  <a:spcPct val="0"/>
                </a:spcBef>
                <a:defRPr/>
              </a:pPr>
              <a:r>
                <a:rPr lang="en-US" altLang="zh-CN" b="1" dirty="0"/>
                <a:t>GUI: GNOME</a:t>
              </a:r>
              <a:endParaRPr lang="zh-CN" altLang="en-US" b="1" dirty="0"/>
            </a:p>
          </p:txBody>
        </p:sp>
        <p:sp>
          <p:nvSpPr>
            <p:cNvPr id="22" name="íślíḋé">
              <a:extLst>
                <a:ext uri="{FF2B5EF4-FFF2-40B4-BE49-F238E27FC236}">
                  <a16:creationId xmlns:a16="http://schemas.microsoft.com/office/drawing/2014/main" id="{240A807A-C428-497C-835C-A91D52C18C6C}"/>
                </a:ext>
              </a:extLst>
            </p:cNvPr>
            <p:cNvSpPr/>
            <p:nvPr/>
          </p:nvSpPr>
          <p:spPr>
            <a:xfrm>
              <a:off x="6864039" y="2476944"/>
              <a:ext cx="1774513" cy="325410"/>
            </a:xfrm>
            <a:prstGeom prst="rect">
              <a:avLst/>
            </a:prstGeom>
          </p:spPr>
          <p:txBody>
            <a:bodyPr wrap="none" lIns="90000" tIns="46800" rIns="90000" bIns="46800" anchor="ctr" anchorCtr="1">
              <a:normAutofit fontScale="92500" lnSpcReduction="20000"/>
            </a:bodyPr>
            <a:lstStyle/>
            <a:p>
              <a:pPr lvl="0" algn="ctr" defTabSz="914378">
                <a:spcBef>
                  <a:spcPct val="0"/>
                </a:spcBef>
                <a:defRPr/>
              </a:pPr>
              <a:r>
                <a:rPr lang="en-US" altLang="zh-CN" b="1" dirty="0"/>
                <a:t>CLI(shell): </a:t>
              </a:r>
              <a:r>
                <a:rPr lang="en-US" altLang="zh-CN" b="1" dirty="0" err="1"/>
                <a:t>zsh</a:t>
              </a:r>
              <a:endParaRPr lang="zh-CN" altLang="en-US" b="1" dirty="0"/>
            </a:p>
          </p:txBody>
        </p:sp>
        <p:sp>
          <p:nvSpPr>
            <p:cNvPr id="20" name="î$ḻîḋe">
              <a:extLst>
                <a:ext uri="{FF2B5EF4-FFF2-40B4-BE49-F238E27FC236}">
                  <a16:creationId xmlns:a16="http://schemas.microsoft.com/office/drawing/2014/main" id="{9B3E822A-73FC-43E4-958F-34D5D47FD012}"/>
                </a:ext>
              </a:extLst>
            </p:cNvPr>
            <p:cNvSpPr/>
            <p:nvPr/>
          </p:nvSpPr>
          <p:spPr>
            <a:xfrm>
              <a:off x="9130058" y="1285643"/>
              <a:ext cx="1774513" cy="325410"/>
            </a:xfrm>
            <a:prstGeom prst="rect">
              <a:avLst/>
            </a:prstGeom>
          </p:spPr>
          <p:txBody>
            <a:bodyPr wrap="none" lIns="90000" tIns="46800" rIns="90000" bIns="46800" anchor="ctr" anchorCtr="1">
              <a:normAutofit fontScale="92500" lnSpcReduction="20000"/>
            </a:bodyPr>
            <a:lstStyle/>
            <a:p>
              <a:pPr lvl="0" algn="ctr" defTabSz="914378">
                <a:spcBef>
                  <a:spcPct val="0"/>
                </a:spcBef>
                <a:defRPr/>
              </a:pPr>
              <a:r>
                <a:rPr lang="en-US" altLang="zh-CN" b="1" dirty="0"/>
                <a:t>Linux Kernel</a:t>
              </a:r>
              <a:endParaRPr lang="zh-CN" altLang="en-US" b="1" dirty="0"/>
            </a:p>
          </p:txBody>
        </p:sp>
      </p:grpSp>
      <p:sp>
        <p:nvSpPr>
          <p:cNvPr id="26" name="文本框 25">
            <a:extLst>
              <a:ext uri="{FF2B5EF4-FFF2-40B4-BE49-F238E27FC236}">
                <a16:creationId xmlns:a16="http://schemas.microsoft.com/office/drawing/2014/main" id="{714A2ADE-BB94-45D9-B33E-6FCF79C03C2D}"/>
              </a:ext>
            </a:extLst>
          </p:cNvPr>
          <p:cNvSpPr txBox="1"/>
          <p:nvPr/>
        </p:nvSpPr>
        <p:spPr>
          <a:xfrm>
            <a:off x="669924" y="1326832"/>
            <a:ext cx="483337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/>
              <a:t>CLI in Linux: </a:t>
            </a:r>
          </a:p>
          <a:p>
            <a:r>
              <a:rPr lang="en-US" altLang="zh-CN" dirty="0"/>
              <a:t>Many </a:t>
            </a:r>
            <a:r>
              <a:rPr lang="en-US" altLang="zh-CN" dirty="0" err="1"/>
              <a:t>many</a:t>
            </a:r>
            <a:r>
              <a:rPr lang="en-US" altLang="zh-CN" dirty="0"/>
              <a:t> kinds of shells := bash, </a:t>
            </a:r>
            <a:r>
              <a:rPr lang="en-US" altLang="zh-CN" dirty="0" err="1"/>
              <a:t>sh</a:t>
            </a:r>
            <a:r>
              <a:rPr lang="en-US" altLang="zh-CN" dirty="0"/>
              <a:t>, </a:t>
            </a:r>
            <a:r>
              <a:rPr lang="en-US" altLang="zh-CN" dirty="0" err="1"/>
              <a:t>zsh</a:t>
            </a:r>
            <a:r>
              <a:rPr lang="en-US" altLang="zh-CN" dirty="0"/>
              <a:t> …</a:t>
            </a:r>
            <a:endParaRPr lang="zh-CN" altLang="en-US" dirty="0"/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A06D19FF-A569-47CC-B921-0106981DAC61}"/>
              </a:ext>
            </a:extLst>
          </p:cNvPr>
          <p:cNvSpPr txBox="1"/>
          <p:nvPr/>
        </p:nvSpPr>
        <p:spPr>
          <a:xfrm>
            <a:off x="669924" y="2403714"/>
            <a:ext cx="19543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/>
              <a:t>GUI in Linux: </a:t>
            </a:r>
          </a:p>
          <a:p>
            <a:r>
              <a:rPr lang="en-US" altLang="zh-CN" dirty="0"/>
              <a:t>GNOME, KDE …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463191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0864CEE-8DC5-4CC5-98B1-D562100A77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ile System Directorie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C95F22A-A006-4CDA-8073-867ADAB668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D883D420-8A63-4426-A705-0ED48A1F293F}"/>
              </a:ext>
            </a:extLst>
          </p:cNvPr>
          <p:cNvSpPr/>
          <p:nvPr/>
        </p:nvSpPr>
        <p:spPr>
          <a:xfrm>
            <a:off x="769434" y="6055797"/>
            <a:ext cx="10381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https://www.howtogeek.com/117435/htg-explains-the-linux-directory-structure-explained/</a:t>
            </a:r>
            <a:endParaRPr lang="zh-CN" altLang="en-US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4441B0F8-8F02-480B-8D9B-D115AAD905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3453" y="1213366"/>
            <a:ext cx="9885094" cy="424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2256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EF999F6-CF40-4CD5-A6BE-5B378AAA5C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Get hands dirty now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312FB62-1DC6-49FA-BBC4-01555364D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23E67C1D-62A9-4A16-A8CA-D1A7FABF2F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8123" y="1191904"/>
            <a:ext cx="9734164" cy="5355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6923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CMake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43251" y="27284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FBF5271-FB10-4086-B31F-13BD8B5D5F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106021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A5133EC-F057-423A-82BE-68C98DF44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CMake</a:t>
            </a:r>
            <a:r>
              <a:rPr lang="en-US" altLang="zh-CN" dirty="0"/>
              <a:t> Basi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4B1EEAD-81A7-428D-BEE5-22DA385FBF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3F053B5F-02D0-44E4-9F6A-6C4C3FF144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4524" y="1136632"/>
            <a:ext cx="9228719" cy="1935054"/>
          </a:xfrm>
          <a:prstGeom prst="rect">
            <a:avLst/>
          </a:prstGeom>
        </p:spPr>
      </p:pic>
      <p:sp>
        <p:nvSpPr>
          <p:cNvPr id="6" name="矩形: 圆角 5">
            <a:extLst>
              <a:ext uri="{FF2B5EF4-FFF2-40B4-BE49-F238E27FC236}">
                <a16:creationId xmlns:a16="http://schemas.microsoft.com/office/drawing/2014/main" id="{4A53B6AE-5378-4004-816E-ECFDA70591EE}"/>
              </a:ext>
            </a:extLst>
          </p:cNvPr>
          <p:cNvSpPr/>
          <p:nvPr/>
        </p:nvSpPr>
        <p:spPr>
          <a:xfrm>
            <a:off x="1058561" y="3124856"/>
            <a:ext cx="9819503" cy="2022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his is ok if you don’t need any dependency.</a:t>
            </a:r>
          </a:p>
          <a:p>
            <a:pPr algn="ctr"/>
            <a:r>
              <a:rPr lang="en-US" altLang="zh-CN" dirty="0"/>
              <a:t>What if we want use a library?</a:t>
            </a:r>
          </a:p>
          <a:p>
            <a:pPr algn="ctr"/>
            <a:r>
              <a:rPr lang="en-US" altLang="zh-CN" dirty="0"/>
              <a:t>How to manage the libraries in a common way?</a:t>
            </a:r>
          </a:p>
          <a:p>
            <a:pPr algn="ctr"/>
            <a:r>
              <a:rPr lang="en-US" altLang="zh-CN" sz="4400" b="1" i="1" dirty="0" err="1">
                <a:solidFill>
                  <a:schemeClr val="accent3">
                    <a:lumMod val="60000"/>
                    <a:lumOff val="40000"/>
                  </a:schemeClr>
                </a:solidFill>
              </a:rPr>
              <a:t>CMake</a:t>
            </a:r>
            <a:r>
              <a:rPr lang="en-US" altLang="zh-CN" sz="4400" b="1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 is the answer!</a:t>
            </a:r>
            <a:endParaRPr lang="zh-CN" altLang="en-US" sz="4400" b="1" i="1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1CC5CC1A-795C-45FB-A555-A43F1826F951}"/>
              </a:ext>
            </a:extLst>
          </p:cNvPr>
          <p:cNvSpPr/>
          <p:nvPr/>
        </p:nvSpPr>
        <p:spPr>
          <a:xfrm>
            <a:off x="214184" y="5721368"/>
            <a:ext cx="8826844" cy="807308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bg2">
                    <a:lumMod val="10000"/>
                  </a:schemeClr>
                </a:solidFill>
              </a:rPr>
              <a:t>To understand compiling and linking:</a:t>
            </a:r>
          </a:p>
          <a:p>
            <a:pPr algn="ctr"/>
            <a:r>
              <a:rPr lang="en-US" altLang="zh-CN" sz="1400" dirty="0">
                <a:hlinkClick r:id="rId3"/>
              </a:rPr>
              <a:t>https://www.youtube.com/watch?v=SfGuIVzE_Os&amp;list=PLlrATfBNZ98dudnM48yfGUldqGD0S4FFb&amp;index=5</a:t>
            </a:r>
            <a:endParaRPr lang="zh-CN" altLang="en-US" sz="1400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45CF615D-B4C2-40B0-B34A-AAF70E3EDC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28347" y="5200416"/>
            <a:ext cx="2617549" cy="1328260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66B19682-B6AB-4D84-ADEE-8591A3AB755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4852" y="1408606"/>
            <a:ext cx="11860705" cy="1517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015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faeb3860-0e02-4cc6-9f56-79d398ebaa4b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4be90c13-0265-47d4-9235-2547409d16a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ce3a2b1-4bc3-4e65-9a52-0ccb868cfb22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CBBE7"/>
      </a:accent1>
      <a:accent2>
        <a:srgbClr val="91D8F2"/>
      </a:accent2>
      <a:accent3>
        <a:srgbClr val="FF83A8"/>
      </a:accent3>
      <a:accent4>
        <a:srgbClr val="FFBFBE"/>
      </a:accent4>
      <a:accent5>
        <a:srgbClr val="707070"/>
      </a:accent5>
      <a:accent6>
        <a:srgbClr val="54545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PLUS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281</TotalTime>
  <Words>890</Words>
  <Application>Microsoft Office PowerPoint</Application>
  <PresentationFormat>宽屏</PresentationFormat>
  <Paragraphs>218</Paragraphs>
  <Slides>31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1</vt:i4>
      </vt:variant>
    </vt:vector>
  </HeadingPairs>
  <TitlesOfParts>
    <vt:vector size="47" baseType="lpstr">
      <vt:lpstr>宋体</vt:lpstr>
      <vt:lpstr>微软雅黑</vt:lpstr>
      <vt:lpstr>Arial</vt:lpstr>
      <vt:lpstr>Calibri</vt:lpstr>
      <vt:lpstr>Cambria Math</vt:lpstr>
      <vt:lpstr>Cascadia Code</vt:lpstr>
      <vt:lpstr>Century</vt:lpstr>
      <vt:lpstr>Consolas</vt:lpstr>
      <vt:lpstr>Constantia</vt:lpstr>
      <vt:lpstr>Courier New</vt:lpstr>
      <vt:lpstr>Impact</vt:lpstr>
      <vt:lpstr>Segoe UI Light</vt:lpstr>
      <vt:lpstr>Wingdings</vt:lpstr>
      <vt:lpstr>主题5</vt:lpstr>
      <vt:lpstr>OfficePLUS</vt:lpstr>
      <vt:lpstr>think-cell Slide</vt:lpstr>
      <vt:lpstr>SuperPower  Vision Group Team Training</vt:lpstr>
      <vt:lpstr>Today, you’ll learn:</vt:lpstr>
      <vt:lpstr>Linux Shell</vt:lpstr>
      <vt:lpstr>What’s an OS?</vt:lpstr>
      <vt:lpstr>Modern OS = Kernel + Interface(CLI + GUI)</vt:lpstr>
      <vt:lpstr>File System Directories</vt:lpstr>
      <vt:lpstr>Get hands dirty now</vt:lpstr>
      <vt:lpstr>CMake</vt:lpstr>
      <vt:lpstr>CMake Basic</vt:lpstr>
      <vt:lpstr>Use CMake</vt:lpstr>
      <vt:lpstr>More features</vt:lpstr>
      <vt:lpstr>We also use CMake to build LIBRARIES</vt:lpstr>
      <vt:lpstr>STL</vt:lpstr>
      <vt:lpstr>See what’s there and always ref.</vt:lpstr>
      <vt:lpstr>Big Idea When Programming</vt:lpstr>
      <vt:lpstr>STL: Container &amp; Algorithm</vt:lpstr>
      <vt:lpstr>Try to reserve</vt:lpstr>
      <vt:lpstr>What is push_back doing?</vt:lpstr>
      <vt:lpstr>Conclusion</vt:lpstr>
      <vt:lpstr>Algorithms —— An iterator view</vt:lpstr>
      <vt:lpstr>Iterate a container</vt:lpstr>
      <vt:lpstr>Finally</vt:lpstr>
      <vt:lpstr>Quiz</vt:lpstr>
      <vt:lpstr>Git &amp; GitHub</vt:lpstr>
      <vt:lpstr>Git</vt:lpstr>
      <vt:lpstr>GitHub</vt:lpstr>
      <vt:lpstr>What you need to do</vt:lpstr>
      <vt:lpstr>Attention</vt:lpstr>
      <vt:lpstr>PowerPoint 演示文稿</vt:lpstr>
      <vt:lpstr>PowerPoint 演示文稿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刘佳伟</cp:lastModifiedBy>
  <cp:revision>145</cp:revision>
  <cp:lastPrinted>2018-06-07T16:00:00Z</cp:lastPrinted>
  <dcterms:created xsi:type="dcterms:W3CDTF">2018-06-07T16:00:00Z</dcterms:created>
  <dcterms:modified xsi:type="dcterms:W3CDTF">2019-09-29T10:21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Owner">
    <vt:lpwstr>v-yunxl@microsoft.com</vt:lpwstr>
  </property>
  <property fmtid="{D5CDD505-2E9C-101B-9397-08002B2CF9AE}" pid="6" name="MSIP_Label_f42aa342-8706-4288-bd11-ebb85995028c_SetDate">
    <vt:lpwstr>2018-11-16T07:35:27.1720801Z</vt:lpwstr>
  </property>
  <property fmtid="{D5CDD505-2E9C-101B-9397-08002B2CF9AE}" pid="7" name="MSIP_Label_f42aa342-8706-4288-bd11-ebb85995028c_Name">
    <vt:lpwstr>General</vt:lpwstr>
  </property>
  <property fmtid="{D5CDD505-2E9C-101B-9397-08002B2CF9AE}" pid="8" name="MSIP_Label_f42aa342-8706-4288-bd11-ebb85995028c_Application">
    <vt:lpwstr>Microsoft Azure Information Protection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</Properties>
</file>